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2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3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4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5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heme/theme8.xml" ContentType="application/vnd.openxmlformats-officedocument.theme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heme/theme9.xml" ContentType="application/vnd.openxmlformats-officedocument.theme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746" r:id="rId4"/>
    <p:sldMasterId id="2147483725" r:id="rId5"/>
    <p:sldMasterId id="2147483804" r:id="rId6"/>
    <p:sldMasterId id="2147483873" r:id="rId7"/>
    <p:sldMasterId id="2147483891" r:id="rId8"/>
    <p:sldMasterId id="2147483970" r:id="rId9"/>
    <p:sldMasterId id="2147483984" r:id="rId10"/>
    <p:sldMasterId id="2147483997" r:id="rId11"/>
    <p:sldMasterId id="2147484578" r:id="rId12"/>
    <p:sldMasterId id="2147483730" r:id="rId13"/>
  </p:sldMasterIdLst>
  <p:notesMasterIdLst>
    <p:notesMasterId r:id="rId24"/>
  </p:notesMasterIdLst>
  <p:sldIdLst>
    <p:sldId id="2147475108" r:id="rId14"/>
    <p:sldId id="2147475116" r:id="rId15"/>
    <p:sldId id="2147475106" r:id="rId16"/>
    <p:sldId id="2147475113" r:id="rId17"/>
    <p:sldId id="2147475114" r:id="rId18"/>
    <p:sldId id="2147475117" r:id="rId19"/>
    <p:sldId id="2147475119" r:id="rId20"/>
    <p:sldId id="2147475118" r:id="rId21"/>
    <p:sldId id="2147475115" r:id="rId22"/>
    <p:sldId id="2147475121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E6716D-7320-36E8-503B-F0BCC29D8619}" name="Ashwini Lalye" initials="AL" userId="S::ashwinil4@kpit.com::ed79c302-05f4-4dfa-b9c0-ef634d28d2ce" providerId="AD"/>
  <p188:author id="{E44D5D85-E005-CA75-A0D0-FC9E6F83E493}" name="Ankur Deo" initials="" userId="S::ankurd2@kpit.com::3a978bb5-770b-4c9c-a403-c918c5511d30" providerId="AD"/>
  <p188:author id="{6BCBA5C9-9926-E1A0-C785-C3DF8E4AF97B}" name="Jongchul Kim" initials="" userId="S::jongchulk@kpit.com::4a1f2286-3d74-4c88-b7c3-f1566ceb9368" providerId="AD"/>
  <p188:author id="{E25CDAD6-C4D0-C02A-6F3C-5DC030F7E282}" name="Nesara Naik" initials="" userId="S::nesaran@kpit.com::4034cf38-85ed-4a9a-a7fb-289fc573f7c4" providerId="AD"/>
  <p188:author id="{6270BBDF-D3FA-6507-EC3A-8E17B8902A35}" name="Ravi Kiran R" initials="" userId="S::ravik27@kpit.com::c0c65e1c-f745-4a42-805e-ff0182ef45ce" providerId="AD"/>
  <p188:author id="{B39773F6-046E-97DA-73FD-C78D690DE4E9}" name="Meera Sinha" initials="" userId="S::meeras2@kpit.com::1c43d088-2e5a-4f7f-a252-31c0de93735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92D050"/>
    <a:srgbClr val="9FD665"/>
    <a:srgbClr val="D9E1F2"/>
    <a:srgbClr val="4280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06ADF9-AF8B-481D-B292-6D7F00155025}" v="1" dt="2024-10-17T19:19:02.4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1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AAABA31-286E-48BB-8428-33D9FF5BF9E6}" type="doc">
      <dgm:prSet loTypeId="urn:microsoft.com/office/officeart/2005/8/layout/hProcess11" loCatId="process" qsTypeId="urn:microsoft.com/office/officeart/2005/8/quickstyle/simple3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3CBF0E32-6381-47B4-B3F3-558DB3E3D37E}">
      <dgm:prSet phldrT="[Text]"/>
      <dgm:spPr/>
      <dgm:t>
        <a:bodyPr/>
        <a:lstStyle/>
        <a:p>
          <a:r>
            <a:rPr lang="en-US" dirty="0"/>
            <a:t>Feature platform-based unit validation approach</a:t>
          </a:r>
        </a:p>
      </dgm:t>
    </dgm:pt>
    <dgm:pt modelId="{C04718A0-BE09-458F-B957-024E576B5A06}" type="parTrans" cxnId="{B3CDD6EF-02E3-4F42-9735-D68212211ED5}">
      <dgm:prSet/>
      <dgm:spPr/>
      <dgm:t>
        <a:bodyPr/>
        <a:lstStyle/>
        <a:p>
          <a:endParaRPr lang="en-US"/>
        </a:p>
      </dgm:t>
    </dgm:pt>
    <dgm:pt modelId="{3039D81E-5D88-4937-A463-AAA0FBE8C97D}" type="sibTrans" cxnId="{B3CDD6EF-02E3-4F42-9735-D68212211ED5}">
      <dgm:prSet/>
      <dgm:spPr/>
      <dgm:t>
        <a:bodyPr/>
        <a:lstStyle/>
        <a:p>
          <a:endParaRPr lang="en-US"/>
        </a:p>
      </dgm:t>
    </dgm:pt>
    <dgm:pt modelId="{4F6288E2-74BD-42E0-A597-61EDCFCD636E}">
      <dgm:prSet phldrT="[Text]"/>
      <dgm:spPr/>
      <dgm:t>
        <a:bodyPr/>
        <a:lstStyle/>
        <a:p>
          <a:r>
            <a:rPr lang="en-US" dirty="0"/>
            <a:t>Maintain/update  tools/libraries based on platform</a:t>
          </a:r>
        </a:p>
      </dgm:t>
    </dgm:pt>
    <dgm:pt modelId="{8FF939F5-96AB-4B84-970E-574C82C334FE}" type="parTrans" cxnId="{E3EDC830-F549-4D7B-B97C-25C3D5CE8525}">
      <dgm:prSet/>
      <dgm:spPr/>
      <dgm:t>
        <a:bodyPr/>
        <a:lstStyle/>
        <a:p>
          <a:endParaRPr lang="en-US"/>
        </a:p>
      </dgm:t>
    </dgm:pt>
    <dgm:pt modelId="{22B4B9A3-C6AB-43A9-8D72-9733822CF73F}" type="sibTrans" cxnId="{E3EDC830-F549-4D7B-B97C-25C3D5CE8525}">
      <dgm:prSet/>
      <dgm:spPr/>
      <dgm:t>
        <a:bodyPr/>
        <a:lstStyle/>
        <a:p>
          <a:endParaRPr lang="en-US"/>
        </a:p>
      </dgm:t>
    </dgm:pt>
    <dgm:pt modelId="{62DF2E7E-0EE0-4BF0-8316-DC5B0FF5105F}">
      <dgm:prSet phldrT="[Text]"/>
      <dgm:spPr/>
      <dgm:t>
        <a:bodyPr/>
        <a:lstStyle/>
        <a:p>
          <a:r>
            <a:rPr lang="en-US" dirty="0"/>
            <a:t>Uniform approach</a:t>
          </a:r>
        </a:p>
      </dgm:t>
    </dgm:pt>
    <dgm:pt modelId="{88A90C55-A9F4-496B-AD98-9054FFA8F534}" type="parTrans" cxnId="{1CCFC6C2-4F85-42F7-8F80-EBBB03223219}">
      <dgm:prSet/>
      <dgm:spPr/>
      <dgm:t>
        <a:bodyPr/>
        <a:lstStyle/>
        <a:p>
          <a:endParaRPr lang="en-US"/>
        </a:p>
      </dgm:t>
    </dgm:pt>
    <dgm:pt modelId="{3795E124-54E9-4F0E-B51D-7DE56BDE8914}" type="sibTrans" cxnId="{1CCFC6C2-4F85-42F7-8F80-EBBB03223219}">
      <dgm:prSet/>
      <dgm:spPr/>
      <dgm:t>
        <a:bodyPr/>
        <a:lstStyle/>
        <a:p>
          <a:endParaRPr lang="en-US"/>
        </a:p>
      </dgm:t>
    </dgm:pt>
    <dgm:pt modelId="{EEFB48B4-076C-4943-9100-968110275A9F}">
      <dgm:prSet phldrT="[Text]"/>
      <dgm:spPr/>
      <dgm:t>
        <a:bodyPr/>
        <a:lstStyle/>
        <a:p>
          <a:r>
            <a:rPr lang="en-US" dirty="0"/>
            <a:t>Less Rework with common tools/libraries </a:t>
          </a:r>
        </a:p>
      </dgm:t>
    </dgm:pt>
    <dgm:pt modelId="{3FC14C3C-B48D-4633-BC98-2865FFF7C8FA}" type="parTrans" cxnId="{2C185BF0-7968-4563-B0BF-B34FE9A3C50E}">
      <dgm:prSet/>
      <dgm:spPr/>
      <dgm:t>
        <a:bodyPr/>
        <a:lstStyle/>
        <a:p>
          <a:endParaRPr lang="en-US"/>
        </a:p>
      </dgm:t>
    </dgm:pt>
    <dgm:pt modelId="{64D8EB11-50B8-4859-B23B-B8A323DE81D5}" type="sibTrans" cxnId="{2C185BF0-7968-4563-B0BF-B34FE9A3C50E}">
      <dgm:prSet/>
      <dgm:spPr/>
      <dgm:t>
        <a:bodyPr/>
        <a:lstStyle/>
        <a:p>
          <a:endParaRPr lang="en-US"/>
        </a:p>
      </dgm:t>
    </dgm:pt>
    <dgm:pt modelId="{58CD1623-31B2-4A46-8525-81DAD631CA64}">
      <dgm:prSet/>
      <dgm:spPr/>
      <dgm:t>
        <a:bodyPr/>
        <a:lstStyle/>
        <a:p>
          <a:r>
            <a:rPr lang="en-US" dirty="0"/>
            <a:t>Less Review Time needed.</a:t>
          </a:r>
        </a:p>
      </dgm:t>
    </dgm:pt>
    <dgm:pt modelId="{F92190DF-C740-408A-9614-9890D21F9965}" type="parTrans" cxnId="{6439BD43-D35C-4B5F-9C8B-BF80BE6F2603}">
      <dgm:prSet/>
      <dgm:spPr/>
      <dgm:t>
        <a:bodyPr/>
        <a:lstStyle/>
        <a:p>
          <a:endParaRPr lang="en-US"/>
        </a:p>
      </dgm:t>
    </dgm:pt>
    <dgm:pt modelId="{C9F84CE8-9A91-450E-A283-9A5A4729A86C}" type="sibTrans" cxnId="{6439BD43-D35C-4B5F-9C8B-BF80BE6F2603}">
      <dgm:prSet/>
      <dgm:spPr/>
      <dgm:t>
        <a:bodyPr/>
        <a:lstStyle/>
        <a:p>
          <a:endParaRPr lang="en-US"/>
        </a:p>
      </dgm:t>
    </dgm:pt>
    <dgm:pt modelId="{762AB83A-E28D-4E3C-8BA3-C95FD9DF52A2}" type="pres">
      <dgm:prSet presAssocID="{EAAABA31-286E-48BB-8428-33D9FF5BF9E6}" presName="Name0" presStyleCnt="0">
        <dgm:presLayoutVars>
          <dgm:dir/>
          <dgm:resizeHandles val="exact"/>
        </dgm:presLayoutVars>
      </dgm:prSet>
      <dgm:spPr/>
    </dgm:pt>
    <dgm:pt modelId="{B1D6CEE5-9C33-429A-8472-12C1C75C6846}" type="pres">
      <dgm:prSet presAssocID="{EAAABA31-286E-48BB-8428-33D9FF5BF9E6}" presName="arrow" presStyleLbl="bgShp" presStyleIdx="0" presStyleCnt="1"/>
      <dgm:spPr/>
    </dgm:pt>
    <dgm:pt modelId="{864A1BA7-81C7-4509-9FB4-D8D0BD5185CF}" type="pres">
      <dgm:prSet presAssocID="{EAAABA31-286E-48BB-8428-33D9FF5BF9E6}" presName="points" presStyleCnt="0"/>
      <dgm:spPr/>
    </dgm:pt>
    <dgm:pt modelId="{419DCC33-2496-4163-8C06-719BE76D965D}" type="pres">
      <dgm:prSet presAssocID="{3CBF0E32-6381-47B4-B3F3-558DB3E3D37E}" presName="compositeA" presStyleCnt="0"/>
      <dgm:spPr/>
    </dgm:pt>
    <dgm:pt modelId="{14BF7206-93DD-4085-B086-470D48C6FDB0}" type="pres">
      <dgm:prSet presAssocID="{3CBF0E32-6381-47B4-B3F3-558DB3E3D37E}" presName="textA" presStyleLbl="revTx" presStyleIdx="0" presStyleCnt="5">
        <dgm:presLayoutVars>
          <dgm:bulletEnabled val="1"/>
        </dgm:presLayoutVars>
      </dgm:prSet>
      <dgm:spPr/>
    </dgm:pt>
    <dgm:pt modelId="{13D7969D-1EFB-491F-BEE1-9780830DBEDF}" type="pres">
      <dgm:prSet presAssocID="{3CBF0E32-6381-47B4-B3F3-558DB3E3D37E}" presName="circleA" presStyleLbl="node1" presStyleIdx="0" presStyleCnt="5"/>
      <dgm:spPr/>
    </dgm:pt>
    <dgm:pt modelId="{F81B7BB9-C0B3-4A72-B478-BBDB837B755E}" type="pres">
      <dgm:prSet presAssocID="{3CBF0E32-6381-47B4-B3F3-558DB3E3D37E}" presName="spaceA" presStyleCnt="0"/>
      <dgm:spPr/>
    </dgm:pt>
    <dgm:pt modelId="{166BDEB3-C48B-441A-B645-67EF841BED1D}" type="pres">
      <dgm:prSet presAssocID="{3039D81E-5D88-4937-A463-AAA0FBE8C97D}" presName="space" presStyleCnt="0"/>
      <dgm:spPr/>
    </dgm:pt>
    <dgm:pt modelId="{C8EF30F0-5F65-4E26-93C4-2AC393AB1A0A}" type="pres">
      <dgm:prSet presAssocID="{4F6288E2-74BD-42E0-A597-61EDCFCD636E}" presName="compositeB" presStyleCnt="0"/>
      <dgm:spPr/>
    </dgm:pt>
    <dgm:pt modelId="{7370EC85-A7C8-451E-AD3A-1EE3CC3EDB60}" type="pres">
      <dgm:prSet presAssocID="{4F6288E2-74BD-42E0-A597-61EDCFCD636E}" presName="textB" presStyleLbl="revTx" presStyleIdx="1" presStyleCnt="5">
        <dgm:presLayoutVars>
          <dgm:bulletEnabled val="1"/>
        </dgm:presLayoutVars>
      </dgm:prSet>
      <dgm:spPr/>
    </dgm:pt>
    <dgm:pt modelId="{4FA9370C-3AFA-4B33-AC07-5C01280FE8F5}" type="pres">
      <dgm:prSet presAssocID="{4F6288E2-74BD-42E0-A597-61EDCFCD636E}" presName="circleB" presStyleLbl="node1" presStyleIdx="1" presStyleCnt="5"/>
      <dgm:spPr/>
    </dgm:pt>
    <dgm:pt modelId="{F6AE0C02-82DC-4C3B-9CF0-8A1B6F131687}" type="pres">
      <dgm:prSet presAssocID="{4F6288E2-74BD-42E0-A597-61EDCFCD636E}" presName="spaceB" presStyleCnt="0"/>
      <dgm:spPr/>
    </dgm:pt>
    <dgm:pt modelId="{E49F09DA-A0C9-4C0C-BDA8-BF48100418C7}" type="pres">
      <dgm:prSet presAssocID="{22B4B9A3-C6AB-43A9-8D72-9733822CF73F}" presName="space" presStyleCnt="0"/>
      <dgm:spPr/>
    </dgm:pt>
    <dgm:pt modelId="{97BD6E07-1BC1-403B-B8F0-676031B5F348}" type="pres">
      <dgm:prSet presAssocID="{62DF2E7E-0EE0-4BF0-8316-DC5B0FF5105F}" presName="compositeA" presStyleCnt="0"/>
      <dgm:spPr/>
    </dgm:pt>
    <dgm:pt modelId="{3CE35986-5F6F-4447-A000-FF093324D307}" type="pres">
      <dgm:prSet presAssocID="{62DF2E7E-0EE0-4BF0-8316-DC5B0FF5105F}" presName="textA" presStyleLbl="revTx" presStyleIdx="2" presStyleCnt="5">
        <dgm:presLayoutVars>
          <dgm:bulletEnabled val="1"/>
        </dgm:presLayoutVars>
      </dgm:prSet>
      <dgm:spPr/>
    </dgm:pt>
    <dgm:pt modelId="{E897A1B5-8F6E-4054-A51C-B2B1B23D7FA5}" type="pres">
      <dgm:prSet presAssocID="{62DF2E7E-0EE0-4BF0-8316-DC5B0FF5105F}" presName="circleA" presStyleLbl="node1" presStyleIdx="2" presStyleCnt="5"/>
      <dgm:spPr/>
    </dgm:pt>
    <dgm:pt modelId="{D1FD2F9E-44C1-4613-B485-F179168E0A4B}" type="pres">
      <dgm:prSet presAssocID="{62DF2E7E-0EE0-4BF0-8316-DC5B0FF5105F}" presName="spaceA" presStyleCnt="0"/>
      <dgm:spPr/>
    </dgm:pt>
    <dgm:pt modelId="{AD8CE435-D2CE-4714-B670-FDA964C1E068}" type="pres">
      <dgm:prSet presAssocID="{3795E124-54E9-4F0E-B51D-7DE56BDE8914}" presName="space" presStyleCnt="0"/>
      <dgm:spPr/>
    </dgm:pt>
    <dgm:pt modelId="{39323A14-82BE-41F1-B383-D9567D28B688}" type="pres">
      <dgm:prSet presAssocID="{EEFB48B4-076C-4943-9100-968110275A9F}" presName="compositeB" presStyleCnt="0"/>
      <dgm:spPr/>
    </dgm:pt>
    <dgm:pt modelId="{1D983C64-34E5-446F-BDB2-E5B5F52492A5}" type="pres">
      <dgm:prSet presAssocID="{EEFB48B4-076C-4943-9100-968110275A9F}" presName="textB" presStyleLbl="revTx" presStyleIdx="3" presStyleCnt="5">
        <dgm:presLayoutVars>
          <dgm:bulletEnabled val="1"/>
        </dgm:presLayoutVars>
      </dgm:prSet>
      <dgm:spPr/>
    </dgm:pt>
    <dgm:pt modelId="{40CE5F70-5DC2-47F4-AA8F-2C65E0C5DC19}" type="pres">
      <dgm:prSet presAssocID="{EEFB48B4-076C-4943-9100-968110275A9F}" presName="circleB" presStyleLbl="node1" presStyleIdx="3" presStyleCnt="5"/>
      <dgm:spPr/>
    </dgm:pt>
    <dgm:pt modelId="{50371C14-9833-4A8F-B536-4A019C50E5ED}" type="pres">
      <dgm:prSet presAssocID="{EEFB48B4-076C-4943-9100-968110275A9F}" presName="spaceB" presStyleCnt="0"/>
      <dgm:spPr/>
    </dgm:pt>
    <dgm:pt modelId="{94395BFE-134C-4FC5-B8D3-DCC87764F5BE}" type="pres">
      <dgm:prSet presAssocID="{64D8EB11-50B8-4859-B23B-B8A323DE81D5}" presName="space" presStyleCnt="0"/>
      <dgm:spPr/>
    </dgm:pt>
    <dgm:pt modelId="{E0EB6BE0-AF3A-4BE7-A91B-18F0D20A7EF8}" type="pres">
      <dgm:prSet presAssocID="{58CD1623-31B2-4A46-8525-81DAD631CA64}" presName="compositeA" presStyleCnt="0"/>
      <dgm:spPr/>
    </dgm:pt>
    <dgm:pt modelId="{44484EC8-F691-4F4E-8085-25102D3D4B22}" type="pres">
      <dgm:prSet presAssocID="{58CD1623-31B2-4A46-8525-81DAD631CA64}" presName="textA" presStyleLbl="revTx" presStyleIdx="4" presStyleCnt="5">
        <dgm:presLayoutVars>
          <dgm:bulletEnabled val="1"/>
        </dgm:presLayoutVars>
      </dgm:prSet>
      <dgm:spPr/>
    </dgm:pt>
    <dgm:pt modelId="{582D9872-9E7C-46DB-B29E-1839214701B4}" type="pres">
      <dgm:prSet presAssocID="{58CD1623-31B2-4A46-8525-81DAD631CA64}" presName="circleA" presStyleLbl="node1" presStyleIdx="4" presStyleCnt="5"/>
      <dgm:spPr/>
    </dgm:pt>
    <dgm:pt modelId="{6DF76AEE-123F-437E-9B06-036CA391FC37}" type="pres">
      <dgm:prSet presAssocID="{58CD1623-31B2-4A46-8525-81DAD631CA64}" presName="spaceA" presStyleCnt="0"/>
      <dgm:spPr/>
    </dgm:pt>
  </dgm:ptLst>
  <dgm:cxnLst>
    <dgm:cxn modelId="{A743A40A-8C28-4872-8294-21626CC914BA}" type="presOf" srcId="{EAAABA31-286E-48BB-8428-33D9FF5BF9E6}" destId="{762AB83A-E28D-4E3C-8BA3-C95FD9DF52A2}" srcOrd="0" destOrd="0" presId="urn:microsoft.com/office/officeart/2005/8/layout/hProcess11"/>
    <dgm:cxn modelId="{E3EDC830-F549-4D7B-B97C-25C3D5CE8525}" srcId="{EAAABA31-286E-48BB-8428-33D9FF5BF9E6}" destId="{4F6288E2-74BD-42E0-A597-61EDCFCD636E}" srcOrd="1" destOrd="0" parTransId="{8FF939F5-96AB-4B84-970E-574C82C334FE}" sibTransId="{22B4B9A3-C6AB-43A9-8D72-9733822CF73F}"/>
    <dgm:cxn modelId="{4926133B-685E-43C3-89B1-C951C47CBC0D}" type="presOf" srcId="{EEFB48B4-076C-4943-9100-968110275A9F}" destId="{1D983C64-34E5-446F-BDB2-E5B5F52492A5}" srcOrd="0" destOrd="0" presId="urn:microsoft.com/office/officeart/2005/8/layout/hProcess11"/>
    <dgm:cxn modelId="{6439BD43-D35C-4B5F-9C8B-BF80BE6F2603}" srcId="{EAAABA31-286E-48BB-8428-33D9FF5BF9E6}" destId="{58CD1623-31B2-4A46-8525-81DAD631CA64}" srcOrd="4" destOrd="0" parTransId="{F92190DF-C740-408A-9614-9890D21F9965}" sibTransId="{C9F84CE8-9A91-450E-A283-9A5A4729A86C}"/>
    <dgm:cxn modelId="{FCA98645-D9E6-400B-B1CB-3C553FF53EBE}" type="presOf" srcId="{4F6288E2-74BD-42E0-A597-61EDCFCD636E}" destId="{7370EC85-A7C8-451E-AD3A-1EE3CC3EDB60}" srcOrd="0" destOrd="0" presId="urn:microsoft.com/office/officeart/2005/8/layout/hProcess11"/>
    <dgm:cxn modelId="{02B4D086-DEBE-4EDD-AED8-25E955ECFCA0}" type="presOf" srcId="{62DF2E7E-0EE0-4BF0-8316-DC5B0FF5105F}" destId="{3CE35986-5F6F-4447-A000-FF093324D307}" srcOrd="0" destOrd="0" presId="urn:microsoft.com/office/officeart/2005/8/layout/hProcess11"/>
    <dgm:cxn modelId="{1CCFC6C2-4F85-42F7-8F80-EBBB03223219}" srcId="{EAAABA31-286E-48BB-8428-33D9FF5BF9E6}" destId="{62DF2E7E-0EE0-4BF0-8316-DC5B0FF5105F}" srcOrd="2" destOrd="0" parTransId="{88A90C55-A9F4-496B-AD98-9054FFA8F534}" sibTransId="{3795E124-54E9-4F0E-B51D-7DE56BDE8914}"/>
    <dgm:cxn modelId="{741316DA-BA31-415D-9C51-0314E4F1E0DA}" type="presOf" srcId="{3CBF0E32-6381-47B4-B3F3-558DB3E3D37E}" destId="{14BF7206-93DD-4085-B086-470D48C6FDB0}" srcOrd="0" destOrd="0" presId="urn:microsoft.com/office/officeart/2005/8/layout/hProcess11"/>
    <dgm:cxn modelId="{B3CDD6EF-02E3-4F42-9735-D68212211ED5}" srcId="{EAAABA31-286E-48BB-8428-33D9FF5BF9E6}" destId="{3CBF0E32-6381-47B4-B3F3-558DB3E3D37E}" srcOrd="0" destOrd="0" parTransId="{C04718A0-BE09-458F-B957-024E576B5A06}" sibTransId="{3039D81E-5D88-4937-A463-AAA0FBE8C97D}"/>
    <dgm:cxn modelId="{2C185BF0-7968-4563-B0BF-B34FE9A3C50E}" srcId="{EAAABA31-286E-48BB-8428-33D9FF5BF9E6}" destId="{EEFB48B4-076C-4943-9100-968110275A9F}" srcOrd="3" destOrd="0" parTransId="{3FC14C3C-B48D-4633-BC98-2865FFF7C8FA}" sibTransId="{64D8EB11-50B8-4859-B23B-B8A323DE81D5}"/>
    <dgm:cxn modelId="{0DC799FA-34FC-4FA9-AF99-DF94C3AB6110}" type="presOf" srcId="{58CD1623-31B2-4A46-8525-81DAD631CA64}" destId="{44484EC8-F691-4F4E-8085-25102D3D4B22}" srcOrd="0" destOrd="0" presId="urn:microsoft.com/office/officeart/2005/8/layout/hProcess11"/>
    <dgm:cxn modelId="{69704097-CC24-4FCD-8521-CFD0DF7F447E}" type="presParOf" srcId="{762AB83A-E28D-4E3C-8BA3-C95FD9DF52A2}" destId="{B1D6CEE5-9C33-429A-8472-12C1C75C6846}" srcOrd="0" destOrd="0" presId="urn:microsoft.com/office/officeart/2005/8/layout/hProcess11"/>
    <dgm:cxn modelId="{65A4C36F-DF8F-4C11-B685-FF89FD540207}" type="presParOf" srcId="{762AB83A-E28D-4E3C-8BA3-C95FD9DF52A2}" destId="{864A1BA7-81C7-4509-9FB4-D8D0BD5185CF}" srcOrd="1" destOrd="0" presId="urn:microsoft.com/office/officeart/2005/8/layout/hProcess11"/>
    <dgm:cxn modelId="{C2E2DCFC-01F7-4AFC-A689-82F9C93C9A93}" type="presParOf" srcId="{864A1BA7-81C7-4509-9FB4-D8D0BD5185CF}" destId="{419DCC33-2496-4163-8C06-719BE76D965D}" srcOrd="0" destOrd="0" presId="urn:microsoft.com/office/officeart/2005/8/layout/hProcess11"/>
    <dgm:cxn modelId="{8401DD85-1000-4D23-9EB9-DAD81F272A53}" type="presParOf" srcId="{419DCC33-2496-4163-8C06-719BE76D965D}" destId="{14BF7206-93DD-4085-B086-470D48C6FDB0}" srcOrd="0" destOrd="0" presId="urn:microsoft.com/office/officeart/2005/8/layout/hProcess11"/>
    <dgm:cxn modelId="{8DA9EEA4-0848-4E09-8946-50570E4B6B24}" type="presParOf" srcId="{419DCC33-2496-4163-8C06-719BE76D965D}" destId="{13D7969D-1EFB-491F-BEE1-9780830DBEDF}" srcOrd="1" destOrd="0" presId="urn:microsoft.com/office/officeart/2005/8/layout/hProcess11"/>
    <dgm:cxn modelId="{C923DB07-D47E-4A39-B3A7-A74F841531B1}" type="presParOf" srcId="{419DCC33-2496-4163-8C06-719BE76D965D}" destId="{F81B7BB9-C0B3-4A72-B478-BBDB837B755E}" srcOrd="2" destOrd="0" presId="urn:microsoft.com/office/officeart/2005/8/layout/hProcess11"/>
    <dgm:cxn modelId="{6984165A-9ECE-4D71-9BD7-BBBFCB96AE42}" type="presParOf" srcId="{864A1BA7-81C7-4509-9FB4-D8D0BD5185CF}" destId="{166BDEB3-C48B-441A-B645-67EF841BED1D}" srcOrd="1" destOrd="0" presId="urn:microsoft.com/office/officeart/2005/8/layout/hProcess11"/>
    <dgm:cxn modelId="{0F913AF2-A6DB-4ADA-B4A5-949A2D261215}" type="presParOf" srcId="{864A1BA7-81C7-4509-9FB4-D8D0BD5185CF}" destId="{C8EF30F0-5F65-4E26-93C4-2AC393AB1A0A}" srcOrd="2" destOrd="0" presId="urn:microsoft.com/office/officeart/2005/8/layout/hProcess11"/>
    <dgm:cxn modelId="{DDCCF687-610C-4CBB-AA83-D0D9A9A17B45}" type="presParOf" srcId="{C8EF30F0-5F65-4E26-93C4-2AC393AB1A0A}" destId="{7370EC85-A7C8-451E-AD3A-1EE3CC3EDB60}" srcOrd="0" destOrd="0" presId="urn:microsoft.com/office/officeart/2005/8/layout/hProcess11"/>
    <dgm:cxn modelId="{92CB3B1E-999F-4C90-8466-433744624C57}" type="presParOf" srcId="{C8EF30F0-5F65-4E26-93C4-2AC393AB1A0A}" destId="{4FA9370C-3AFA-4B33-AC07-5C01280FE8F5}" srcOrd="1" destOrd="0" presId="urn:microsoft.com/office/officeart/2005/8/layout/hProcess11"/>
    <dgm:cxn modelId="{268D0CC5-93A6-46E4-96BF-DD768F55E9F7}" type="presParOf" srcId="{C8EF30F0-5F65-4E26-93C4-2AC393AB1A0A}" destId="{F6AE0C02-82DC-4C3B-9CF0-8A1B6F131687}" srcOrd="2" destOrd="0" presId="urn:microsoft.com/office/officeart/2005/8/layout/hProcess11"/>
    <dgm:cxn modelId="{248616D5-32FF-4257-8007-A23FE673EA80}" type="presParOf" srcId="{864A1BA7-81C7-4509-9FB4-D8D0BD5185CF}" destId="{E49F09DA-A0C9-4C0C-BDA8-BF48100418C7}" srcOrd="3" destOrd="0" presId="urn:microsoft.com/office/officeart/2005/8/layout/hProcess11"/>
    <dgm:cxn modelId="{DF7458F3-7321-4A05-826D-BC132712DD5F}" type="presParOf" srcId="{864A1BA7-81C7-4509-9FB4-D8D0BD5185CF}" destId="{97BD6E07-1BC1-403B-B8F0-676031B5F348}" srcOrd="4" destOrd="0" presId="urn:microsoft.com/office/officeart/2005/8/layout/hProcess11"/>
    <dgm:cxn modelId="{0BFA5CF7-B7DB-41B3-9FCD-19A85A253520}" type="presParOf" srcId="{97BD6E07-1BC1-403B-B8F0-676031B5F348}" destId="{3CE35986-5F6F-4447-A000-FF093324D307}" srcOrd="0" destOrd="0" presId="urn:microsoft.com/office/officeart/2005/8/layout/hProcess11"/>
    <dgm:cxn modelId="{EA71CD5F-624A-46D0-A44E-1CAF10B3F642}" type="presParOf" srcId="{97BD6E07-1BC1-403B-B8F0-676031B5F348}" destId="{E897A1B5-8F6E-4054-A51C-B2B1B23D7FA5}" srcOrd="1" destOrd="0" presId="urn:microsoft.com/office/officeart/2005/8/layout/hProcess11"/>
    <dgm:cxn modelId="{0873D289-B7EF-43B0-AE5B-0A7ABC01AD20}" type="presParOf" srcId="{97BD6E07-1BC1-403B-B8F0-676031B5F348}" destId="{D1FD2F9E-44C1-4613-B485-F179168E0A4B}" srcOrd="2" destOrd="0" presId="urn:microsoft.com/office/officeart/2005/8/layout/hProcess11"/>
    <dgm:cxn modelId="{3908B6BF-DE64-475F-B5B7-B70E32ED48E2}" type="presParOf" srcId="{864A1BA7-81C7-4509-9FB4-D8D0BD5185CF}" destId="{AD8CE435-D2CE-4714-B670-FDA964C1E068}" srcOrd="5" destOrd="0" presId="urn:microsoft.com/office/officeart/2005/8/layout/hProcess11"/>
    <dgm:cxn modelId="{73FD43D2-D8EF-4D7F-A344-6B2798ECD598}" type="presParOf" srcId="{864A1BA7-81C7-4509-9FB4-D8D0BD5185CF}" destId="{39323A14-82BE-41F1-B383-D9567D28B688}" srcOrd="6" destOrd="0" presId="urn:microsoft.com/office/officeart/2005/8/layout/hProcess11"/>
    <dgm:cxn modelId="{7ABBE3CC-7289-4B7B-BBBF-441E36E4D866}" type="presParOf" srcId="{39323A14-82BE-41F1-B383-D9567D28B688}" destId="{1D983C64-34E5-446F-BDB2-E5B5F52492A5}" srcOrd="0" destOrd="0" presId="urn:microsoft.com/office/officeart/2005/8/layout/hProcess11"/>
    <dgm:cxn modelId="{5DC1A88E-0177-4192-BA0B-E40A6B16103D}" type="presParOf" srcId="{39323A14-82BE-41F1-B383-D9567D28B688}" destId="{40CE5F70-5DC2-47F4-AA8F-2C65E0C5DC19}" srcOrd="1" destOrd="0" presId="urn:microsoft.com/office/officeart/2005/8/layout/hProcess11"/>
    <dgm:cxn modelId="{30887ED1-C4BE-418D-88F8-515E4821E2D5}" type="presParOf" srcId="{39323A14-82BE-41F1-B383-D9567D28B688}" destId="{50371C14-9833-4A8F-B536-4A019C50E5ED}" srcOrd="2" destOrd="0" presId="urn:microsoft.com/office/officeart/2005/8/layout/hProcess11"/>
    <dgm:cxn modelId="{910E3059-1527-416E-BD1F-3613E4984702}" type="presParOf" srcId="{864A1BA7-81C7-4509-9FB4-D8D0BD5185CF}" destId="{94395BFE-134C-4FC5-B8D3-DCC87764F5BE}" srcOrd="7" destOrd="0" presId="urn:microsoft.com/office/officeart/2005/8/layout/hProcess11"/>
    <dgm:cxn modelId="{EA0BBEA5-90C2-4598-9F36-BC776EA877F3}" type="presParOf" srcId="{864A1BA7-81C7-4509-9FB4-D8D0BD5185CF}" destId="{E0EB6BE0-AF3A-4BE7-A91B-18F0D20A7EF8}" srcOrd="8" destOrd="0" presId="urn:microsoft.com/office/officeart/2005/8/layout/hProcess11"/>
    <dgm:cxn modelId="{712B81F0-9236-423E-AB23-4F6EA678AA14}" type="presParOf" srcId="{E0EB6BE0-AF3A-4BE7-A91B-18F0D20A7EF8}" destId="{44484EC8-F691-4F4E-8085-25102D3D4B22}" srcOrd="0" destOrd="0" presId="urn:microsoft.com/office/officeart/2005/8/layout/hProcess11"/>
    <dgm:cxn modelId="{F6E22071-7D9E-4EBB-8ADE-7A5196E8E14C}" type="presParOf" srcId="{E0EB6BE0-AF3A-4BE7-A91B-18F0D20A7EF8}" destId="{582D9872-9E7C-46DB-B29E-1839214701B4}" srcOrd="1" destOrd="0" presId="urn:microsoft.com/office/officeart/2005/8/layout/hProcess11"/>
    <dgm:cxn modelId="{0AF16F9B-CD01-40F2-9FD4-6B6D5FFE4813}" type="presParOf" srcId="{E0EB6BE0-AF3A-4BE7-A91B-18F0D20A7EF8}" destId="{6DF76AEE-123F-437E-9B06-036CA391FC37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D6CEE5-9C33-429A-8472-12C1C75C6846}">
      <dsp:nvSpPr>
        <dsp:cNvPr id="0" name=""/>
        <dsp:cNvSpPr/>
      </dsp:nvSpPr>
      <dsp:spPr>
        <a:xfrm>
          <a:off x="0" y="538772"/>
          <a:ext cx="6632454" cy="718364"/>
        </a:xfrm>
        <a:prstGeom prst="notched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14BF7206-93DD-4085-B086-470D48C6FDB0}">
      <dsp:nvSpPr>
        <dsp:cNvPr id="0" name=""/>
        <dsp:cNvSpPr/>
      </dsp:nvSpPr>
      <dsp:spPr>
        <a:xfrm>
          <a:off x="2623" y="0"/>
          <a:ext cx="1146915" cy="7183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Feature platform-based unit validation approach</a:t>
          </a:r>
        </a:p>
      </dsp:txBody>
      <dsp:txXfrm>
        <a:off x="2623" y="0"/>
        <a:ext cx="1146915" cy="718364"/>
      </dsp:txXfrm>
    </dsp:sp>
    <dsp:sp modelId="{13D7969D-1EFB-491F-BEE1-9780830DBEDF}">
      <dsp:nvSpPr>
        <dsp:cNvPr id="0" name=""/>
        <dsp:cNvSpPr/>
      </dsp:nvSpPr>
      <dsp:spPr>
        <a:xfrm>
          <a:off x="486285" y="808159"/>
          <a:ext cx="179591" cy="179591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370EC85-A7C8-451E-AD3A-1EE3CC3EDB60}">
      <dsp:nvSpPr>
        <dsp:cNvPr id="0" name=""/>
        <dsp:cNvSpPr/>
      </dsp:nvSpPr>
      <dsp:spPr>
        <a:xfrm>
          <a:off x="1206884" y="1077545"/>
          <a:ext cx="1146915" cy="7183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Maintain/update  tools/libraries based on platform</a:t>
          </a:r>
        </a:p>
      </dsp:txBody>
      <dsp:txXfrm>
        <a:off x="1206884" y="1077545"/>
        <a:ext cx="1146915" cy="718364"/>
      </dsp:txXfrm>
    </dsp:sp>
    <dsp:sp modelId="{4FA9370C-3AFA-4B33-AC07-5C01280FE8F5}">
      <dsp:nvSpPr>
        <dsp:cNvPr id="0" name=""/>
        <dsp:cNvSpPr/>
      </dsp:nvSpPr>
      <dsp:spPr>
        <a:xfrm>
          <a:off x="1690547" y="808159"/>
          <a:ext cx="179591" cy="179591"/>
        </a:xfrm>
        <a:prstGeom prst="ellipse">
          <a:avLst/>
        </a:prstGeom>
        <a:gradFill rotWithShape="0">
          <a:gsLst>
            <a:gs pos="0">
              <a:schemeClr val="accent4">
                <a:hueOff val="29883"/>
                <a:satOff val="-7738"/>
                <a:lumOff val="-2843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29883"/>
                <a:satOff val="-7738"/>
                <a:lumOff val="-2843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29883"/>
                <a:satOff val="-7738"/>
                <a:lumOff val="-2843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CE35986-5F6F-4447-A000-FF093324D307}">
      <dsp:nvSpPr>
        <dsp:cNvPr id="0" name=""/>
        <dsp:cNvSpPr/>
      </dsp:nvSpPr>
      <dsp:spPr>
        <a:xfrm>
          <a:off x="2411146" y="0"/>
          <a:ext cx="1146915" cy="7183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Uniform approach</a:t>
          </a:r>
        </a:p>
      </dsp:txBody>
      <dsp:txXfrm>
        <a:off x="2411146" y="0"/>
        <a:ext cx="1146915" cy="718364"/>
      </dsp:txXfrm>
    </dsp:sp>
    <dsp:sp modelId="{E897A1B5-8F6E-4054-A51C-B2B1B23D7FA5}">
      <dsp:nvSpPr>
        <dsp:cNvPr id="0" name=""/>
        <dsp:cNvSpPr/>
      </dsp:nvSpPr>
      <dsp:spPr>
        <a:xfrm>
          <a:off x="2894808" y="808159"/>
          <a:ext cx="179591" cy="179591"/>
        </a:xfrm>
        <a:prstGeom prst="ellipse">
          <a:avLst/>
        </a:prstGeom>
        <a:gradFill rotWithShape="0">
          <a:gsLst>
            <a:gs pos="0">
              <a:schemeClr val="accent4">
                <a:hueOff val="59767"/>
                <a:satOff val="-15476"/>
                <a:lumOff val="-5687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59767"/>
                <a:satOff val="-15476"/>
                <a:lumOff val="-5687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59767"/>
                <a:satOff val="-15476"/>
                <a:lumOff val="-5687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D983C64-34E5-446F-BDB2-E5B5F52492A5}">
      <dsp:nvSpPr>
        <dsp:cNvPr id="0" name=""/>
        <dsp:cNvSpPr/>
      </dsp:nvSpPr>
      <dsp:spPr>
        <a:xfrm>
          <a:off x="3615407" y="1077545"/>
          <a:ext cx="1146915" cy="7183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Less Rework with common tools/libraries </a:t>
          </a:r>
        </a:p>
      </dsp:txBody>
      <dsp:txXfrm>
        <a:off x="3615407" y="1077545"/>
        <a:ext cx="1146915" cy="718364"/>
      </dsp:txXfrm>
    </dsp:sp>
    <dsp:sp modelId="{40CE5F70-5DC2-47F4-AA8F-2C65E0C5DC19}">
      <dsp:nvSpPr>
        <dsp:cNvPr id="0" name=""/>
        <dsp:cNvSpPr/>
      </dsp:nvSpPr>
      <dsp:spPr>
        <a:xfrm>
          <a:off x="4099070" y="808159"/>
          <a:ext cx="179591" cy="179591"/>
        </a:xfrm>
        <a:prstGeom prst="ellipse">
          <a:avLst/>
        </a:prstGeom>
        <a:gradFill rotWithShape="0">
          <a:gsLst>
            <a:gs pos="0">
              <a:schemeClr val="accent4">
                <a:hueOff val="89650"/>
                <a:satOff val="-23214"/>
                <a:lumOff val="-853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89650"/>
                <a:satOff val="-23214"/>
                <a:lumOff val="-853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89650"/>
                <a:satOff val="-23214"/>
                <a:lumOff val="-853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44484EC8-F691-4F4E-8085-25102D3D4B22}">
      <dsp:nvSpPr>
        <dsp:cNvPr id="0" name=""/>
        <dsp:cNvSpPr/>
      </dsp:nvSpPr>
      <dsp:spPr>
        <a:xfrm>
          <a:off x="4819669" y="0"/>
          <a:ext cx="1146915" cy="7183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Less Review Time needed.</a:t>
          </a:r>
        </a:p>
      </dsp:txBody>
      <dsp:txXfrm>
        <a:off x="4819669" y="0"/>
        <a:ext cx="1146915" cy="718364"/>
      </dsp:txXfrm>
    </dsp:sp>
    <dsp:sp modelId="{582D9872-9E7C-46DB-B29E-1839214701B4}">
      <dsp:nvSpPr>
        <dsp:cNvPr id="0" name=""/>
        <dsp:cNvSpPr/>
      </dsp:nvSpPr>
      <dsp:spPr>
        <a:xfrm>
          <a:off x="5303332" y="808159"/>
          <a:ext cx="179591" cy="179591"/>
        </a:xfrm>
        <a:prstGeom prst="ellipse">
          <a:avLst/>
        </a:prstGeom>
        <a:gradFill rotWithShape="0">
          <a:gsLst>
            <a:gs pos="0">
              <a:schemeClr val="accent4">
                <a:hueOff val="119533"/>
                <a:satOff val="-30952"/>
                <a:lumOff val="-11373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119533"/>
                <a:satOff val="-30952"/>
                <a:lumOff val="-11373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119533"/>
                <a:satOff val="-30952"/>
                <a:lumOff val="-11373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6DDC12-2571-41DF-8B72-27ACBFEC7D9B}" type="datetimeFigureOut">
              <a:rPr lang="en-US" smtClean="0"/>
              <a:t>10/1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53FFC9-F65C-41B1-B563-6EB2CBCC5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480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9CE82D-71C1-40BB-9F9F-BFC8B0CAA11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836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53FFC9-F65C-41B1-B563-6EB2CBCC510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3043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13D557-6DE7-2DE7-EF63-0FEEE222B1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85C712-B4C1-B630-151E-BC820FFAD7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482BB3-EFEC-8552-15A6-E61B97EB68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98AEE7-E4C9-8CC0-3DAD-62BD2BB35F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9CE82D-71C1-40BB-9F9F-BFC8B0CAA11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40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8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8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8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8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8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8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8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8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0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DC6AB9-8AB9-4FE9-8C42-F0F32AFF10C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97D9F2B-44B1-4815-BC40-D69E50701F30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7938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6286500" y="2669242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6499" y="5635774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6582054" y="3697942"/>
            <a:ext cx="4577005" cy="1077218"/>
          </a:xfrm>
          <a:solidFill>
            <a:srgbClr val="333536">
              <a:alpha val="0"/>
            </a:srgbClr>
          </a:solidFill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BB6D16-F747-419C-9060-5243FEE6BA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2055" y="3035642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7644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F54AED-ADE0-4FD9-A927-39235D4125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336426"/>
      </p:ext>
    </p:extLst>
  </p:cSld>
  <p:clrMapOvr>
    <a:masterClrMapping/>
  </p:clrMapOvr>
  <p:hf hdr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siness Canv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33413" y="1679973"/>
            <a:ext cx="2147365" cy="2771775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849563" y="1679972"/>
            <a:ext cx="2122487" cy="1355328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849563" y="3096419"/>
            <a:ext cx="2122487" cy="1355328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040836" y="1679973"/>
            <a:ext cx="2109265" cy="2771775"/>
          </a:xfrm>
          <a:prstGeom prst="rect">
            <a:avLst/>
          </a:prstGeom>
          <a:solidFill>
            <a:schemeClr val="accent2"/>
          </a:solidFill>
          <a:ln w="0">
            <a:solidFill>
              <a:schemeClr val="accent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7218886" y="1679972"/>
            <a:ext cx="2122487" cy="1355328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7218886" y="3096419"/>
            <a:ext cx="2122487" cy="1355328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9412281" y="1679973"/>
            <a:ext cx="2147365" cy="2771775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633413" y="4514866"/>
            <a:ext cx="5430837" cy="1521985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6128808" y="4514866"/>
            <a:ext cx="5430837" cy="1521985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BEC102-29F4-44F4-9717-4F55C36451D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069454"/>
      </p:ext>
    </p:extLst>
  </p:cSld>
  <p:clrMapOvr>
    <a:masterClrMapping/>
  </p:clrMapOvr>
  <p:hf hdr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center &amp;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42516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_center_white"/>
          <p:cNvSpPr>
            <a:spLocks noGrp="1"/>
          </p:cNvSpPr>
          <p:nvPr>
            <p:ph type="title"/>
          </p:nvPr>
        </p:nvSpPr>
        <p:spPr>
          <a:xfrm>
            <a:off x="537459" y="1393077"/>
            <a:ext cx="11117083" cy="854080"/>
          </a:xfrm>
        </p:spPr>
        <p:txBody>
          <a:bodyPr/>
          <a:lstStyle>
            <a:lvl1pPr algn="ctr">
              <a:lnSpc>
                <a:spcPct val="90000"/>
              </a:lnSpc>
              <a:defRPr sz="55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9EAB10-2A06-46DB-9D61-651C4714BC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788618"/>
      </p:ext>
    </p:extLst>
  </p:cSld>
  <p:clrMapOvr>
    <a:masterClrMapping/>
  </p:clrMapOvr>
  <p:hf hdr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12192000" cy="425132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6" name="Title_white"/>
          <p:cNvSpPr>
            <a:spLocks noGrp="1"/>
          </p:cNvSpPr>
          <p:nvPr>
            <p:ph type="title"/>
          </p:nvPr>
        </p:nvSpPr>
        <p:spPr>
          <a:xfrm>
            <a:off x="537459" y="507600"/>
            <a:ext cx="11117083" cy="58477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_white"/>
          <p:cNvSpPr>
            <a:spLocks noGrp="1"/>
          </p:cNvSpPr>
          <p:nvPr>
            <p:ph type="body" sz="quarter" idx="14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rgbClr val="FFFFFF"/>
                </a:solidFill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E8390B-E553-4AFB-9D02-3A91A917F16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710607"/>
      </p:ext>
    </p:extLst>
  </p:cSld>
  <p:clrMapOvr>
    <a:masterClrMapping/>
  </p:clrMapOvr>
  <p:hf hdr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4251960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_bottom"/>
          <p:cNvSpPr>
            <a:spLocks noGrp="1"/>
          </p:cNvSpPr>
          <p:nvPr>
            <p:ph type="title"/>
          </p:nvPr>
        </p:nvSpPr>
        <p:spPr>
          <a:xfrm>
            <a:off x="447288" y="4702150"/>
            <a:ext cx="3555570" cy="1569660"/>
          </a:xfrm>
        </p:spPr>
        <p:txBody>
          <a:bodyPr/>
          <a:lstStyle>
            <a:lvl1pPr algn="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7AD4B0-74D8-4A99-8D65-643E71AF4BF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182BAD-05B8-4986-BB17-A1EEBE504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7CC83B-39BF-444E-9F0E-05AF20B460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507775"/>
      </p:ext>
    </p:extLst>
  </p:cSld>
  <p:clrMapOvr>
    <a:masterClrMapping/>
  </p:clrMapOvr>
  <p:hf hdr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ottom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bottom"/>
          <p:cNvSpPr>
            <a:spLocks noGrp="1"/>
          </p:cNvSpPr>
          <p:nvPr>
            <p:ph type="title"/>
          </p:nvPr>
        </p:nvSpPr>
        <p:spPr>
          <a:xfrm>
            <a:off x="447288" y="4702150"/>
            <a:ext cx="3555570" cy="1569660"/>
          </a:xfrm>
        </p:spPr>
        <p:txBody>
          <a:bodyPr/>
          <a:lstStyle>
            <a:lvl1pPr algn="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Media Placeholder 5"/>
          <p:cNvSpPr>
            <a:spLocks noGrp="1"/>
          </p:cNvSpPr>
          <p:nvPr>
            <p:ph type="media" sz="quarter" idx="12"/>
          </p:nvPr>
        </p:nvSpPr>
        <p:spPr>
          <a:xfrm>
            <a:off x="0" y="1"/>
            <a:ext cx="12192000" cy="425132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B36426-6EC5-4026-9861-2E3B511F9B3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337562"/>
      </p:ext>
    </p:extLst>
  </p:cSld>
  <p:clrMapOvr>
    <a:masterClrMapping/>
  </p:clrMapOvr>
  <p:hf hdr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half backgroun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6249771" y="507601"/>
            <a:ext cx="5245824" cy="107721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C285DA-4081-47B1-9802-35DB6744DC1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D09ACD-7F31-45B9-830E-CB35153DEB8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399" y="6323715"/>
            <a:ext cx="4807125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AD63F7-AFCC-49EC-A106-B67FD146536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22754"/>
      </p:ext>
    </p:extLst>
  </p:cSld>
  <p:clrMapOvr>
    <a:masterClrMapping/>
  </p:clrMapOvr>
  <p:hf hdr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Subtitle &amp; half backgroun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6249771" y="507601"/>
            <a:ext cx="5245824" cy="107721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Subtitle_half_right"/>
          <p:cNvSpPr>
            <a:spLocks noGrp="1"/>
          </p:cNvSpPr>
          <p:nvPr>
            <p:ph type="body" sz="quarter" idx="14" hasCustomPrompt="1"/>
          </p:nvPr>
        </p:nvSpPr>
        <p:spPr>
          <a:xfrm>
            <a:off x="6251401" y="925201"/>
            <a:ext cx="5258610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4B8A11-8D61-4C4F-97A4-733042DD642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992617-E2A3-4D69-A3DF-8DF4D293841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5"/>
            <a:ext cx="485475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54BCE30-C810-4694-95AD-55DD5391E41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820626"/>
      </p:ext>
    </p:extLst>
  </p:cSld>
  <p:clrMapOvr>
    <a:masterClrMapping/>
  </p:clrMapOvr>
  <p:hf hdr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60" y="507600"/>
            <a:ext cx="10958541" cy="584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931000" y="1540801"/>
            <a:ext cx="2790000" cy="471450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44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141000" y="1539001"/>
            <a:ext cx="2790000" cy="471450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65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7356000" y="1211170"/>
            <a:ext cx="3150000" cy="532283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7931598" y="2217364"/>
            <a:ext cx="1998806" cy="33104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9DEF6B-1CDC-48FB-B2FA-212E8F433ED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025815"/>
      </p:ext>
    </p:extLst>
  </p:cSld>
  <p:clrMapOvr>
    <a:masterClrMapping/>
  </p:clrMapOvr>
  <p:hf hdr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146000" y="13608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5610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926000" y="13608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53460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8751000" y="13608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91692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31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683D3-6885-4096-8122-8A581B751BBE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337467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2874982"/>
            <a:ext cx="5976937" cy="2729847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8" y="5680970"/>
            <a:ext cx="4564758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4" y="3903682"/>
            <a:ext cx="5452036" cy="1077218"/>
          </a:xfrm>
          <a:solidFill>
            <a:srgbClr val="333536">
              <a:alpha val="0"/>
            </a:srgbClr>
          </a:solidFill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E5CC6E-16C7-4467-A9C0-AC40766B86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014" y="3182895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893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651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106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3441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85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6366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Picture Placeholder 8"/>
          <p:cNvSpPr>
            <a:spLocks noGrp="1"/>
          </p:cNvSpPr>
          <p:nvPr>
            <p:ph type="pic" sz="quarter" idx="32"/>
          </p:nvPr>
        </p:nvSpPr>
        <p:spPr>
          <a:xfrm>
            <a:off x="6781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9291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970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504560-DEDE-4304-8564-D6CFB1921300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93194"/>
      </p:ext>
    </p:extLst>
  </p:cSld>
  <p:clrMapOvr>
    <a:masterClrMapping/>
  </p:clrMapOvr>
  <p:hf hdr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836000" y="1269001"/>
            <a:ext cx="2520000" cy="4469021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5299200" y="2124000"/>
            <a:ext cx="1598400" cy="279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99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65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7626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32"/>
          </p:nvPr>
        </p:nvSpPr>
        <p:spPr>
          <a:xfrm>
            <a:off x="992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56E03B-D1A3-49D7-BDA2-2B1C473B90CE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422552"/>
      </p:ext>
    </p:extLst>
  </p:cSld>
  <p:clrMapOvr>
    <a:masterClrMapping/>
  </p:clrMapOvr>
  <p:hf hdr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441000" y="1224000"/>
            <a:ext cx="3015000" cy="526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3985347" y="2217600"/>
            <a:ext cx="1926309" cy="329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736000" y="1224000"/>
            <a:ext cx="3015000" cy="526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280347" y="2217600"/>
            <a:ext cx="1926309" cy="329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A95F-2646-46AB-92A0-FCDE59F0AF6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77557"/>
      </p:ext>
    </p:extLst>
  </p:cSld>
  <p:clrMapOvr>
    <a:masterClrMapping/>
  </p:clrMapOvr>
  <p:hf hdr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665600" y="1249200"/>
            <a:ext cx="2862000" cy="5194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188194" y="2242800"/>
            <a:ext cx="1818000" cy="32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CDCFD83-29A0-4266-8E72-C7872FCA40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729220"/>
      </p:ext>
    </p:extLst>
  </p:cSld>
  <p:clrMapOvr>
    <a:masterClrMapping/>
  </p:clrMapOvr>
  <p:hf hdr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4"/>
          </p:nvPr>
        </p:nvSpPr>
        <p:spPr>
          <a:xfrm>
            <a:off x="8438400" y="1242000"/>
            <a:ext cx="2721600" cy="4899763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940799" y="2185037"/>
            <a:ext cx="1721485" cy="3072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894000" y="1000800"/>
            <a:ext cx="2988000" cy="53856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439027" y="2028827"/>
            <a:ext cx="1898648" cy="3352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6"/>
          </p:nvPr>
        </p:nvSpPr>
        <p:spPr>
          <a:xfrm>
            <a:off x="6057900" y="4183925"/>
            <a:ext cx="2114550" cy="211498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8"/>
          <p:cNvSpPr>
            <a:spLocks noGrp="1" noChangeAspect="1"/>
          </p:cNvSpPr>
          <p:nvPr>
            <p:ph type="pic" sz="quarter" idx="17"/>
          </p:nvPr>
        </p:nvSpPr>
        <p:spPr>
          <a:xfrm>
            <a:off x="6393077" y="4519616"/>
            <a:ext cx="1444199" cy="1443600"/>
          </a:xfrm>
          <a:prstGeom prst="roundRect">
            <a:avLst>
              <a:gd name="adj" fmla="val 24561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4AD55B3-D661-491A-8908-26DA58DF016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870981"/>
      </p:ext>
    </p:extLst>
  </p:cSld>
  <p:clrMapOvr>
    <a:masterClrMapping/>
  </p:clrMapOvr>
  <p:hf hdr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60" y="507601"/>
            <a:ext cx="6028441" cy="10772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8610600" y="442912"/>
            <a:ext cx="3489076" cy="5895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9246871" y="1569600"/>
            <a:ext cx="2214000" cy="367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565899" y="69850"/>
            <a:ext cx="3867785" cy="6535738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268400" y="1317600"/>
            <a:ext cx="2462400" cy="4071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Subtitle_half_left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603584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9BB3C1-F184-4624-957C-11069899683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086630"/>
      </p:ext>
    </p:extLst>
  </p:cSld>
  <p:clrMapOvr>
    <a:masterClrMapping/>
  </p:clrMapOvr>
  <p:hf hdr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t App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8256000" cy="6858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60" y="507601"/>
            <a:ext cx="5468541" cy="10772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803000" y="604800"/>
            <a:ext cx="4233600" cy="568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8570698" y="1576372"/>
            <a:ext cx="2787605" cy="37502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770800" y="36000"/>
            <a:ext cx="4784400" cy="66312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20"/>
          </p:nvPr>
        </p:nvSpPr>
        <p:spPr>
          <a:xfrm>
            <a:off x="6541027" y="1169231"/>
            <a:ext cx="3249949" cy="43722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Subtitle_half_left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548720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EAD8AF-2D5F-41F9-A2CD-CC6CECFFB1B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172A04-22D3-430B-9A51-52297E6ACB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408CF4-5D69-473C-AD15-4EFAD292026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C21C60-F8F6-4713-9C3A-36A45EB422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538131-5352-4760-982F-4CF68C1370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36307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7457960"/>
      </p:ext>
    </p:extLst>
  </p:cSld>
  <p:clrMapOvr>
    <a:masterClrMapping/>
  </p:clrMapOvr>
  <p:hf hdr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t Ap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222800" y="1263600"/>
            <a:ext cx="3758400" cy="52092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825586" y="2152650"/>
            <a:ext cx="2553531" cy="3435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7458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CA4C63E-82B6-45AE-8E1B-5834946546C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878622"/>
      </p:ext>
    </p:extLst>
  </p:cSld>
  <p:clrMapOvr>
    <a:masterClrMapping/>
  </p:clrMapOvr>
  <p:hf hdr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t App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8256000" cy="6858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60" y="507601"/>
            <a:ext cx="5468541" cy="10772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5810400" y="43200"/>
            <a:ext cx="6382800" cy="658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7176000" y="909000"/>
            <a:ext cx="5016000" cy="48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ubtitle_half_left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548720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0B690F-AE10-4AC5-B742-38A87F78E85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D6D8294-CB5D-48A3-AF81-4EA0BC6DBA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A0D8B-DB9A-446B-ABAF-4EB4825BAA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F990A2-3A3F-47BA-AA36-8341BD8C796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E72D59F-7C58-4F26-AF3E-6270031DCB52}"/>
              </a:ext>
            </a:extLst>
          </p:cNvPr>
          <p:cNvCxnSpPr>
            <a:cxnSpLocks/>
          </p:cNvCxnSpPr>
          <p:nvPr/>
        </p:nvCxnSpPr>
        <p:spPr>
          <a:xfrm>
            <a:off x="622301" y="6223334"/>
            <a:ext cx="109315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2907411"/>
      </p:ext>
    </p:extLst>
  </p:cSld>
  <p:clrMapOvr>
    <a:masterClrMapping/>
  </p:clrMapOvr>
  <p:hf hdr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44400" y="349200"/>
            <a:ext cx="6148800" cy="598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60" y="507601"/>
            <a:ext cx="6028441" cy="10772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493000" y="984250"/>
            <a:ext cx="4699000" cy="4578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605870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78EDBA-32D1-4CAD-B6F5-A12817AA145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13157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AC14F98-EB08-4070-A49C-A8A25D76B6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60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838D46C-1FA0-4C20-A3A5-A71F44DAB3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59" y="2404368"/>
            <a:ext cx="11117083" cy="707886"/>
          </a:xfrm>
          <a:solidFill>
            <a:srgbClr val="161718">
              <a:alpha val="0"/>
            </a:srgbClr>
          </a:solidFill>
        </p:spPr>
        <p:txBody>
          <a:bodyPr/>
          <a:lstStyle>
            <a:lvl1pPr>
              <a:defRPr sz="40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37459" y="1837478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8" y="4305453"/>
            <a:ext cx="4356100" cy="309562"/>
          </a:xfrm>
          <a:solidFill>
            <a:srgbClr val="161718">
              <a:alpha val="0"/>
            </a:srgbClr>
          </a:solidFill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523117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7200" y="1652400"/>
            <a:ext cx="7480800" cy="4384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435101" y="2120901"/>
            <a:ext cx="5340349" cy="3346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D71CA83-4C14-4F76-8A2E-4BC45FED97B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089905"/>
      </p:ext>
    </p:extLst>
  </p:cSld>
  <p:clrMapOvr>
    <a:masterClrMapping/>
  </p:clrMapOvr>
  <p:hf hdr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30400" y="1411200"/>
            <a:ext cx="7930800" cy="469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861051" y="1911350"/>
            <a:ext cx="5664200" cy="3581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AE8933-31AB-4E36-AA2D-4C3A1404976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63041"/>
      </p:ext>
    </p:extLst>
  </p:cSld>
  <p:clrMapOvr>
    <a:masterClrMapping/>
  </p:clrMapOvr>
  <p:hf hdr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&amp; Mob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30400" y="1411200"/>
            <a:ext cx="7930800" cy="469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861051" y="1911350"/>
            <a:ext cx="5664200" cy="3581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335780" y="1958400"/>
            <a:ext cx="2473200" cy="444960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786238" y="2800350"/>
            <a:ext cx="1576462" cy="2781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6F0666-F520-4269-B254-69D901F7443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408224"/>
      </p:ext>
    </p:extLst>
  </p:cSld>
  <p:clrMapOvr>
    <a:masterClrMapping/>
  </p:clrMapOvr>
  <p:hf hdr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ows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7900" y="1384300"/>
            <a:ext cx="5765800" cy="46863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357939" y="1943100"/>
            <a:ext cx="5186361" cy="3854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85A0D-1399-471C-86C5-8E18B0508C2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350067"/>
      </p:ext>
    </p:extLst>
  </p:cSld>
  <p:clrMapOvr>
    <a:masterClrMapping/>
  </p:clrMapOvr>
  <p:hf hdr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Opening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93776" y="1837478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3776" y="4577566"/>
            <a:ext cx="5097324" cy="395756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493776" y="2397865"/>
            <a:ext cx="6996402" cy="1323439"/>
          </a:xfrm>
        </p:spPr>
        <p:txBody>
          <a:bodyPr/>
          <a:lstStyle>
            <a:lvl1pPr>
              <a:defRPr sz="4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09798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04800" y="277370"/>
            <a:ext cx="11049000" cy="60960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2750">
                <a:solidFill>
                  <a:schemeClr val="tx2"/>
                </a:solidFill>
              </a:defRPr>
            </a:lvl1pPr>
            <a:lvl2pPr marL="544237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1088473" indent="0">
              <a:buNone/>
              <a:defRPr sz="1917">
                <a:solidFill>
                  <a:schemeClr val="tx1">
                    <a:tint val="75000"/>
                  </a:schemeClr>
                </a:solidFill>
              </a:defRPr>
            </a:lvl3pPr>
            <a:lvl4pPr marL="1632711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4pPr>
            <a:lvl5pPr marL="217694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5pPr>
            <a:lvl6pPr marL="272118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6pPr>
            <a:lvl7pPr marL="3265420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7pPr>
            <a:lvl8pPr marL="380965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8pPr>
            <a:lvl9pPr marL="435389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he title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1658600" y="304800"/>
            <a:ext cx="533400" cy="381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04271" y="709983"/>
            <a:ext cx="11055615" cy="550333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/>
          </p:nvPr>
        </p:nvSpPr>
        <p:spPr>
          <a:xfrm>
            <a:off x="277789" y="1547784"/>
            <a:ext cx="11151901" cy="46834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52" tIns="54426" rIns="108852" bIns="54426" rtlCol="0" anchor="ctr"/>
          <a:lstStyle/>
          <a:p>
            <a:pPr algn="ctr"/>
            <a:endParaRPr lang="en-US" sz="1500"/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10"/>
          </p:nvPr>
        </p:nvSpPr>
        <p:spPr>
          <a:xfrm>
            <a:off x="736599" y="6515100"/>
            <a:ext cx="666752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fld id="{D1F0E85D-332C-42EB-BA39-C35BFC93646E}" type="datetime1">
              <a:rPr lang="en-US" smtClean="0"/>
              <a:t>10/17/2024</a:t>
            </a:fld>
            <a:endParaRPr lang="en-US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515100"/>
            <a:ext cx="78486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04800" y="6515100"/>
            <a:ext cx="3048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6" name="Straight Connector 25"/>
          <p:cNvCxnSpPr/>
          <p:nvPr userDrawn="1"/>
        </p:nvCxnSpPr>
        <p:spPr>
          <a:xfrm rot="5400000">
            <a:off x="519642" y="6628342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1293283" y="6628342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rot="5400000">
            <a:off x="2865967" y="6628342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oter Placeholder 4"/>
          <p:cNvSpPr txBox="1">
            <a:spLocks/>
          </p:cNvSpPr>
          <p:nvPr userDrawn="1"/>
        </p:nvSpPr>
        <p:spPr>
          <a:xfrm>
            <a:off x="1513417" y="6515100"/>
            <a:ext cx="1381125" cy="228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marL="0" marR="0" lvl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© KPIT Technologies Limited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0" y="6339192"/>
            <a:ext cx="12192000" cy="616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52" tIns="54426" rIns="108852" bIns="54426" rtlCol="0" anchor="ctr"/>
          <a:lstStyle/>
          <a:p>
            <a:pPr algn="ctr"/>
            <a:endParaRPr lang="en-US" sz="1500"/>
          </a:p>
        </p:txBody>
      </p:sp>
      <p:pic>
        <p:nvPicPr>
          <p:cNvPr id="31" name="Picture 30" descr="KPIT logo-(RGB)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8152" y="6369998"/>
            <a:ext cx="1065490" cy="488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91595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half background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536401" y="6323715"/>
            <a:ext cx="4183061" cy="245776"/>
          </a:xfrm>
        </p:spPr>
        <p:txBody>
          <a:bodyPr/>
          <a:lstStyle>
            <a:lvl1pPr algn="l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Title_half_left"/>
          <p:cNvSpPr>
            <a:spLocks noGrp="1"/>
          </p:cNvSpPr>
          <p:nvPr>
            <p:ph type="title"/>
          </p:nvPr>
        </p:nvSpPr>
        <p:spPr>
          <a:xfrm>
            <a:off x="185035" y="2404368"/>
            <a:ext cx="5729991" cy="1323439"/>
          </a:xfrm>
        </p:spPr>
        <p:txBody>
          <a:bodyPr/>
          <a:lstStyle>
            <a:lvl1pPr>
              <a:defRPr sz="4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645214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04800" y="277370"/>
            <a:ext cx="11049000" cy="60960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2750">
                <a:solidFill>
                  <a:schemeClr val="tx2"/>
                </a:solidFill>
              </a:defRPr>
            </a:lvl1pPr>
            <a:lvl2pPr marL="544237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1088473" indent="0">
              <a:buNone/>
              <a:defRPr sz="1917">
                <a:solidFill>
                  <a:schemeClr val="tx1">
                    <a:tint val="75000"/>
                  </a:schemeClr>
                </a:solidFill>
              </a:defRPr>
            </a:lvl3pPr>
            <a:lvl4pPr marL="1632711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4pPr>
            <a:lvl5pPr marL="217694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5pPr>
            <a:lvl6pPr marL="272118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6pPr>
            <a:lvl7pPr marL="3265420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7pPr>
            <a:lvl8pPr marL="380965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8pPr>
            <a:lvl9pPr marL="435389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he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1008186"/>
            <a:ext cx="11364384" cy="5218943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714"/>
              </a:spcBef>
              <a:buNone/>
              <a:defRPr sz="2000"/>
            </a:lvl1pPr>
            <a:lvl2pPr marL="0" indent="0">
              <a:spcBef>
                <a:spcPts val="714"/>
              </a:spcBef>
              <a:buNone/>
              <a:defRPr sz="2167"/>
            </a:lvl2pPr>
            <a:lvl3pPr marL="0" indent="0">
              <a:spcBef>
                <a:spcPts val="714"/>
              </a:spcBef>
              <a:buNone/>
              <a:defRPr sz="2167"/>
            </a:lvl3pPr>
            <a:lvl4pPr marL="0" indent="0">
              <a:spcBef>
                <a:spcPts val="714"/>
              </a:spcBef>
              <a:buNone/>
              <a:defRPr sz="2167"/>
            </a:lvl4pPr>
            <a:lvl5pPr marL="0" indent="0">
              <a:spcBef>
                <a:spcPts val="714"/>
              </a:spcBef>
              <a:buNone/>
              <a:defRPr sz="2167"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1658600" y="304800"/>
            <a:ext cx="533400" cy="381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17519" y="1005389"/>
            <a:ext cx="9273367" cy="762000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52" tIns="54426" rIns="108852" bIns="54426" rtlCol="0" anchor="ctr"/>
          <a:lstStyle/>
          <a:p>
            <a:pPr algn="ctr"/>
            <a:endParaRPr lang="en-US" sz="1500"/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" y="6515100"/>
            <a:ext cx="6096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fld id="{2AAA71ED-8F0A-4F74-A503-A1718E888FF0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515100"/>
            <a:ext cx="78486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r>
              <a:rPr lang="en-US"/>
              <a:t>Sample footer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04800" y="6515100"/>
            <a:ext cx="3048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5" name="Straight Connector 24"/>
          <p:cNvCxnSpPr/>
          <p:nvPr userDrawn="1"/>
        </p:nvCxnSpPr>
        <p:spPr>
          <a:xfrm rot="5400000">
            <a:off x="519642" y="6628342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rot="5400000">
            <a:off x="1293283" y="6628342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2865967" y="6628342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 txBox="1">
            <a:spLocks/>
          </p:cNvSpPr>
          <p:nvPr userDrawn="1"/>
        </p:nvSpPr>
        <p:spPr>
          <a:xfrm>
            <a:off x="1513417" y="6515100"/>
            <a:ext cx="1381125" cy="228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marL="0" marR="0" lvl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© KPIT Technologies Limited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0" y="6339192"/>
            <a:ext cx="12192000" cy="616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52" tIns="54426" rIns="108852" bIns="54426" rtlCol="0" anchor="ctr"/>
          <a:lstStyle/>
          <a:p>
            <a:pPr algn="ctr"/>
            <a:endParaRPr lang="en-US" sz="1500"/>
          </a:p>
        </p:txBody>
      </p:sp>
      <p:pic>
        <p:nvPicPr>
          <p:cNvPr id="30" name="Picture 29" descr="KPIT logo-(RGB)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8152" y="6369998"/>
            <a:ext cx="1065490" cy="488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69871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DC6AB9-8AB9-4FE9-8C42-F0F32AFF10C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97D9F2B-44B1-4815-BC40-D69E50701F30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03195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41684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Ope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21EBD52-9DDE-4C3D-BF91-2DD57BB3A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37458" y="1837478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  <a:solidFill>
            <a:srgbClr val="212121">
              <a:alpha val="0"/>
            </a:srgbClr>
          </a:solidFill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8" y="4519220"/>
            <a:ext cx="5097324" cy="395756"/>
          </a:xfrm>
          <a:solidFill>
            <a:srgbClr val="161718">
              <a:alpha val="0"/>
            </a:srgbClr>
          </a:solidFill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58" y="2404368"/>
            <a:ext cx="6996402" cy="1323439"/>
          </a:xfrm>
          <a:solidFill>
            <a:srgbClr val="161718">
              <a:alpha val="0"/>
            </a:srgbClr>
          </a:solidFill>
        </p:spPr>
        <p:txBody>
          <a:bodyPr/>
          <a:lstStyle>
            <a:lvl1pPr>
              <a:defRPr sz="40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BB25C1C-6629-4BA4-9851-F12F6AFDD6B6}"/>
              </a:ext>
            </a:extLst>
          </p:cNvPr>
          <p:cNvGrpSpPr/>
          <p:nvPr userDrawn="1"/>
        </p:nvGrpSpPr>
        <p:grpSpPr>
          <a:xfrm>
            <a:off x="537458" y="4255715"/>
            <a:ext cx="612430" cy="125486"/>
            <a:chOff x="575859" y="4778289"/>
            <a:chExt cx="887181" cy="181782"/>
          </a:xfrm>
          <a:solidFill>
            <a:schemeClr val="accent4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F9D0966-B22F-47C2-BA2B-ECBA03B6232D}"/>
                </a:ext>
              </a:extLst>
            </p:cNvPr>
            <p:cNvSpPr/>
            <p:nvPr/>
          </p:nvSpPr>
          <p:spPr>
            <a:xfrm>
              <a:off x="575859" y="4778289"/>
              <a:ext cx="181782" cy="18178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600">
                <a:solidFill>
                  <a:prstClr val="white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14F64AA-4A70-49BD-9FA1-7F42629FCA3C}"/>
                </a:ext>
              </a:extLst>
            </p:cNvPr>
            <p:cNvSpPr/>
            <p:nvPr/>
          </p:nvSpPr>
          <p:spPr>
            <a:xfrm>
              <a:off x="845820" y="4788492"/>
              <a:ext cx="617220" cy="16137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600">
                <a:solidFill>
                  <a:prstClr val="white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E003E77-5EC9-4043-82E6-DA753DA68411}"/>
              </a:ext>
            </a:extLst>
          </p:cNvPr>
          <p:cNvGrpSpPr/>
          <p:nvPr userDrawn="1"/>
        </p:nvGrpSpPr>
        <p:grpSpPr>
          <a:xfrm>
            <a:off x="537459" y="668337"/>
            <a:ext cx="1833583" cy="527240"/>
            <a:chOff x="522288" y="496888"/>
            <a:chExt cx="866775" cy="249238"/>
          </a:xfrm>
          <a:solidFill>
            <a:schemeClr val="accent2"/>
          </a:solidFill>
        </p:grpSpPr>
        <p:sp>
          <p:nvSpPr>
            <p:cNvPr id="17" name="Rectangle 5">
              <a:extLst>
                <a:ext uri="{FF2B5EF4-FFF2-40B4-BE49-F238E27FC236}">
                  <a16:creationId xmlns:a16="http://schemas.microsoft.com/office/drawing/2014/main" id="{D171461C-7E11-4727-BC70-1A3E99B78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4100" y="500063"/>
              <a:ext cx="38100" cy="244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600">
                <a:solidFill>
                  <a:srgbClr val="000000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DCB1985-1E91-4176-A736-EDBF686BA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500063"/>
              <a:ext cx="106363" cy="244475"/>
            </a:xfrm>
            <a:custGeom>
              <a:avLst/>
              <a:gdLst>
                <a:gd name="T0" fmla="*/ 0 w 67"/>
                <a:gd name="T1" fmla="*/ 0 h 154"/>
                <a:gd name="T2" fmla="*/ 0 w 67"/>
                <a:gd name="T3" fmla="*/ 22 h 154"/>
                <a:gd name="T4" fmla="*/ 44 w 67"/>
                <a:gd name="T5" fmla="*/ 22 h 154"/>
                <a:gd name="T6" fmla="*/ 44 w 67"/>
                <a:gd name="T7" fmla="*/ 154 h 154"/>
                <a:gd name="T8" fmla="*/ 67 w 67"/>
                <a:gd name="T9" fmla="*/ 154 h 154"/>
                <a:gd name="T10" fmla="*/ 67 w 67"/>
                <a:gd name="T11" fmla="*/ 22 h 154"/>
                <a:gd name="T12" fmla="*/ 67 w 67"/>
                <a:gd name="T13" fmla="*/ 0 h 154"/>
                <a:gd name="T14" fmla="*/ 0 w 67"/>
                <a:gd name="T1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154">
                  <a:moveTo>
                    <a:pt x="0" y="0"/>
                  </a:moveTo>
                  <a:lnTo>
                    <a:pt x="0" y="22"/>
                  </a:lnTo>
                  <a:lnTo>
                    <a:pt x="44" y="22"/>
                  </a:lnTo>
                  <a:lnTo>
                    <a:pt x="44" y="154"/>
                  </a:lnTo>
                  <a:lnTo>
                    <a:pt x="67" y="154"/>
                  </a:lnTo>
                  <a:lnTo>
                    <a:pt x="67" y="22"/>
                  </a:lnTo>
                  <a:lnTo>
                    <a:pt x="6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600">
                <a:solidFill>
                  <a:srgbClr val="000000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BA7B760-C9CC-4119-BE9E-1F211E9518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575" y="500063"/>
              <a:ext cx="176213" cy="244475"/>
            </a:xfrm>
            <a:custGeom>
              <a:avLst/>
              <a:gdLst>
                <a:gd name="T0" fmla="*/ 411 w 471"/>
                <a:gd name="T1" fmla="*/ 58 h 648"/>
                <a:gd name="T2" fmla="*/ 249 w 471"/>
                <a:gd name="T3" fmla="*/ 0 h 648"/>
                <a:gd name="T4" fmla="*/ 0 w 471"/>
                <a:gd name="T5" fmla="*/ 0 h 648"/>
                <a:gd name="T6" fmla="*/ 0 w 471"/>
                <a:gd name="T7" fmla="*/ 648 h 648"/>
                <a:gd name="T8" fmla="*/ 101 w 471"/>
                <a:gd name="T9" fmla="*/ 648 h 648"/>
                <a:gd name="T10" fmla="*/ 101 w 471"/>
                <a:gd name="T11" fmla="*/ 422 h 648"/>
                <a:gd name="T12" fmla="*/ 242 w 471"/>
                <a:gd name="T13" fmla="*/ 422 h 648"/>
                <a:gd name="T14" fmla="*/ 409 w 471"/>
                <a:gd name="T15" fmla="*/ 365 h 648"/>
                <a:gd name="T16" fmla="*/ 471 w 471"/>
                <a:gd name="T17" fmla="*/ 210 h 648"/>
                <a:gd name="T18" fmla="*/ 411 w 471"/>
                <a:gd name="T19" fmla="*/ 58 h 648"/>
                <a:gd name="T20" fmla="*/ 365 w 471"/>
                <a:gd name="T21" fmla="*/ 210 h 648"/>
                <a:gd name="T22" fmla="*/ 331 w 471"/>
                <a:gd name="T23" fmla="*/ 296 h 648"/>
                <a:gd name="T24" fmla="*/ 233 w 471"/>
                <a:gd name="T25" fmla="*/ 327 h 648"/>
                <a:gd name="T26" fmla="*/ 101 w 471"/>
                <a:gd name="T27" fmla="*/ 327 h 648"/>
                <a:gd name="T28" fmla="*/ 101 w 471"/>
                <a:gd name="T29" fmla="*/ 95 h 648"/>
                <a:gd name="T30" fmla="*/ 239 w 471"/>
                <a:gd name="T31" fmla="*/ 95 h 648"/>
                <a:gd name="T32" fmla="*/ 331 w 471"/>
                <a:gd name="T33" fmla="*/ 126 h 648"/>
                <a:gd name="T34" fmla="*/ 365 w 471"/>
                <a:gd name="T35" fmla="*/ 21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1" h="648">
                  <a:moveTo>
                    <a:pt x="411" y="58"/>
                  </a:moveTo>
                  <a:cubicBezTo>
                    <a:pt x="370" y="20"/>
                    <a:pt x="316" y="0"/>
                    <a:pt x="24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48"/>
                    <a:pt x="0" y="648"/>
                    <a:pt x="0" y="648"/>
                  </a:cubicBezTo>
                  <a:cubicBezTo>
                    <a:pt x="101" y="648"/>
                    <a:pt x="101" y="648"/>
                    <a:pt x="101" y="648"/>
                  </a:cubicBezTo>
                  <a:cubicBezTo>
                    <a:pt x="101" y="422"/>
                    <a:pt x="101" y="422"/>
                    <a:pt x="101" y="422"/>
                  </a:cubicBezTo>
                  <a:cubicBezTo>
                    <a:pt x="242" y="422"/>
                    <a:pt x="242" y="422"/>
                    <a:pt x="242" y="422"/>
                  </a:cubicBezTo>
                  <a:cubicBezTo>
                    <a:pt x="313" y="422"/>
                    <a:pt x="369" y="403"/>
                    <a:pt x="409" y="365"/>
                  </a:cubicBezTo>
                  <a:cubicBezTo>
                    <a:pt x="450" y="327"/>
                    <a:pt x="471" y="275"/>
                    <a:pt x="471" y="210"/>
                  </a:cubicBezTo>
                  <a:cubicBezTo>
                    <a:pt x="471" y="148"/>
                    <a:pt x="451" y="97"/>
                    <a:pt x="411" y="58"/>
                  </a:cubicBezTo>
                  <a:moveTo>
                    <a:pt x="365" y="210"/>
                  </a:moveTo>
                  <a:cubicBezTo>
                    <a:pt x="365" y="247"/>
                    <a:pt x="354" y="276"/>
                    <a:pt x="331" y="296"/>
                  </a:cubicBezTo>
                  <a:cubicBezTo>
                    <a:pt x="308" y="317"/>
                    <a:pt x="275" y="327"/>
                    <a:pt x="233" y="327"/>
                  </a:cubicBezTo>
                  <a:cubicBezTo>
                    <a:pt x="101" y="327"/>
                    <a:pt x="101" y="327"/>
                    <a:pt x="101" y="32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78" y="95"/>
                    <a:pt x="309" y="106"/>
                    <a:pt x="331" y="126"/>
                  </a:cubicBezTo>
                  <a:cubicBezTo>
                    <a:pt x="354" y="146"/>
                    <a:pt x="365" y="174"/>
                    <a:pt x="365" y="2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600">
                <a:solidFill>
                  <a:srgbClr val="000000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9D52E03-D7AD-4990-8226-88567044F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463" y="500063"/>
              <a:ext cx="182563" cy="244475"/>
            </a:xfrm>
            <a:custGeom>
              <a:avLst/>
              <a:gdLst>
                <a:gd name="T0" fmla="*/ 53 w 115"/>
                <a:gd name="T1" fmla="*/ 75 h 154"/>
                <a:gd name="T2" fmla="*/ 115 w 115"/>
                <a:gd name="T3" fmla="*/ 0 h 154"/>
                <a:gd name="T4" fmla="*/ 86 w 115"/>
                <a:gd name="T5" fmla="*/ 0 h 154"/>
                <a:gd name="T6" fmla="*/ 34 w 115"/>
                <a:gd name="T7" fmla="*/ 64 h 154"/>
                <a:gd name="T8" fmla="*/ 34 w 115"/>
                <a:gd name="T9" fmla="*/ 64 h 154"/>
                <a:gd name="T10" fmla="*/ 33 w 115"/>
                <a:gd name="T11" fmla="*/ 64 h 154"/>
                <a:gd name="T12" fmla="*/ 24 w 115"/>
                <a:gd name="T13" fmla="*/ 64 h 154"/>
                <a:gd name="T14" fmla="*/ 24 w 115"/>
                <a:gd name="T15" fmla="*/ 51 h 154"/>
                <a:gd name="T16" fmla="*/ 24 w 115"/>
                <a:gd name="T17" fmla="*/ 19 h 154"/>
                <a:gd name="T18" fmla="*/ 24 w 115"/>
                <a:gd name="T19" fmla="*/ 0 h 154"/>
                <a:gd name="T20" fmla="*/ 23 w 115"/>
                <a:gd name="T21" fmla="*/ 0 h 154"/>
                <a:gd name="T22" fmla="*/ 0 w 115"/>
                <a:gd name="T23" fmla="*/ 0 h 154"/>
                <a:gd name="T24" fmla="*/ 0 w 115"/>
                <a:gd name="T25" fmla="*/ 19 h 154"/>
                <a:gd name="T26" fmla="*/ 0 w 115"/>
                <a:gd name="T27" fmla="*/ 51 h 154"/>
                <a:gd name="T28" fmla="*/ 0 w 115"/>
                <a:gd name="T29" fmla="*/ 64 h 154"/>
                <a:gd name="T30" fmla="*/ 0 w 115"/>
                <a:gd name="T31" fmla="*/ 86 h 154"/>
                <a:gd name="T32" fmla="*/ 0 w 115"/>
                <a:gd name="T33" fmla="*/ 109 h 154"/>
                <a:gd name="T34" fmla="*/ 24 w 115"/>
                <a:gd name="T35" fmla="*/ 109 h 154"/>
                <a:gd name="T36" fmla="*/ 24 w 115"/>
                <a:gd name="T37" fmla="*/ 86 h 154"/>
                <a:gd name="T38" fmla="*/ 34 w 115"/>
                <a:gd name="T39" fmla="*/ 86 h 154"/>
                <a:gd name="T40" fmla="*/ 44 w 115"/>
                <a:gd name="T41" fmla="*/ 98 h 154"/>
                <a:gd name="T42" fmla="*/ 88 w 115"/>
                <a:gd name="T43" fmla="*/ 154 h 154"/>
                <a:gd name="T44" fmla="*/ 115 w 115"/>
                <a:gd name="T45" fmla="*/ 154 h 154"/>
                <a:gd name="T46" fmla="*/ 53 w 115"/>
                <a:gd name="T47" fmla="*/ 7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5" h="154">
                  <a:moveTo>
                    <a:pt x="53" y="75"/>
                  </a:moveTo>
                  <a:lnTo>
                    <a:pt x="115" y="0"/>
                  </a:lnTo>
                  <a:lnTo>
                    <a:pt x="86" y="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3" y="64"/>
                  </a:lnTo>
                  <a:lnTo>
                    <a:pt x="24" y="64"/>
                  </a:lnTo>
                  <a:lnTo>
                    <a:pt x="24" y="51"/>
                  </a:lnTo>
                  <a:lnTo>
                    <a:pt x="24" y="19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51"/>
                  </a:lnTo>
                  <a:lnTo>
                    <a:pt x="0" y="64"/>
                  </a:lnTo>
                  <a:lnTo>
                    <a:pt x="0" y="86"/>
                  </a:lnTo>
                  <a:lnTo>
                    <a:pt x="0" y="109"/>
                  </a:lnTo>
                  <a:lnTo>
                    <a:pt x="24" y="109"/>
                  </a:lnTo>
                  <a:lnTo>
                    <a:pt x="24" y="86"/>
                  </a:lnTo>
                  <a:lnTo>
                    <a:pt x="34" y="86"/>
                  </a:lnTo>
                  <a:lnTo>
                    <a:pt x="44" y="98"/>
                  </a:lnTo>
                  <a:lnTo>
                    <a:pt x="88" y="154"/>
                  </a:lnTo>
                  <a:lnTo>
                    <a:pt x="115" y="154"/>
                  </a:lnTo>
                  <a:lnTo>
                    <a:pt x="53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600">
                <a:solidFill>
                  <a:srgbClr val="000000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D48C1F2-89B1-4202-8201-04D58C387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613" y="496888"/>
              <a:ext cx="44450" cy="42863"/>
            </a:xfrm>
            <a:custGeom>
              <a:avLst/>
              <a:gdLst>
                <a:gd name="T0" fmla="*/ 73 w 119"/>
                <a:gd name="T1" fmla="*/ 4 h 114"/>
                <a:gd name="T2" fmla="*/ 30 w 119"/>
                <a:gd name="T3" fmla="*/ 9 h 114"/>
                <a:gd name="T4" fmla="*/ 4 w 119"/>
                <a:gd name="T5" fmla="*/ 43 h 114"/>
                <a:gd name="T6" fmla="*/ 9 w 119"/>
                <a:gd name="T7" fmla="*/ 85 h 114"/>
                <a:gd name="T8" fmla="*/ 43 w 119"/>
                <a:gd name="T9" fmla="*/ 112 h 114"/>
                <a:gd name="T10" fmla="*/ 57 w 119"/>
                <a:gd name="T11" fmla="*/ 114 h 114"/>
                <a:gd name="T12" fmla="*/ 111 w 119"/>
                <a:gd name="T13" fmla="*/ 73 h 114"/>
                <a:gd name="T14" fmla="*/ 73 w 119"/>
                <a:gd name="T15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114">
                  <a:moveTo>
                    <a:pt x="73" y="4"/>
                  </a:moveTo>
                  <a:cubicBezTo>
                    <a:pt x="59" y="0"/>
                    <a:pt x="44" y="2"/>
                    <a:pt x="30" y="9"/>
                  </a:cubicBezTo>
                  <a:cubicBezTo>
                    <a:pt x="17" y="17"/>
                    <a:pt x="8" y="29"/>
                    <a:pt x="4" y="43"/>
                  </a:cubicBezTo>
                  <a:cubicBezTo>
                    <a:pt x="0" y="57"/>
                    <a:pt x="1" y="72"/>
                    <a:pt x="9" y="85"/>
                  </a:cubicBezTo>
                  <a:cubicBezTo>
                    <a:pt x="16" y="98"/>
                    <a:pt x="28" y="107"/>
                    <a:pt x="43" y="112"/>
                  </a:cubicBezTo>
                  <a:cubicBezTo>
                    <a:pt x="48" y="113"/>
                    <a:pt x="52" y="114"/>
                    <a:pt x="57" y="114"/>
                  </a:cubicBezTo>
                  <a:cubicBezTo>
                    <a:pt x="81" y="114"/>
                    <a:pt x="104" y="97"/>
                    <a:pt x="111" y="73"/>
                  </a:cubicBezTo>
                  <a:cubicBezTo>
                    <a:pt x="119" y="44"/>
                    <a:pt x="102" y="12"/>
                    <a:pt x="73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600">
                <a:solidFill>
                  <a:srgbClr val="000000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83419930-EB06-420C-9C85-6453A218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88" y="703263"/>
              <a:ext cx="42863" cy="42863"/>
            </a:xfrm>
            <a:custGeom>
              <a:avLst/>
              <a:gdLst>
                <a:gd name="T0" fmla="*/ 74 w 115"/>
                <a:gd name="T1" fmla="*/ 4 h 114"/>
                <a:gd name="T2" fmla="*/ 31 w 115"/>
                <a:gd name="T3" fmla="*/ 9 h 114"/>
                <a:gd name="T4" fmla="*/ 4 w 115"/>
                <a:gd name="T5" fmla="*/ 43 h 114"/>
                <a:gd name="T6" fmla="*/ 9 w 115"/>
                <a:gd name="T7" fmla="*/ 85 h 114"/>
                <a:gd name="T8" fmla="*/ 43 w 115"/>
                <a:gd name="T9" fmla="*/ 112 h 114"/>
                <a:gd name="T10" fmla="*/ 58 w 115"/>
                <a:gd name="T11" fmla="*/ 114 h 114"/>
                <a:gd name="T12" fmla="*/ 111 w 115"/>
                <a:gd name="T13" fmla="*/ 74 h 114"/>
                <a:gd name="T14" fmla="*/ 106 w 115"/>
                <a:gd name="T15" fmla="*/ 31 h 114"/>
                <a:gd name="T16" fmla="*/ 74 w 115"/>
                <a:gd name="T17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14">
                  <a:moveTo>
                    <a:pt x="74" y="4"/>
                  </a:moveTo>
                  <a:cubicBezTo>
                    <a:pt x="59" y="0"/>
                    <a:pt x="44" y="2"/>
                    <a:pt x="31" y="9"/>
                  </a:cubicBezTo>
                  <a:cubicBezTo>
                    <a:pt x="18" y="17"/>
                    <a:pt x="8" y="29"/>
                    <a:pt x="4" y="43"/>
                  </a:cubicBezTo>
                  <a:cubicBezTo>
                    <a:pt x="0" y="57"/>
                    <a:pt x="2" y="72"/>
                    <a:pt x="9" y="85"/>
                  </a:cubicBezTo>
                  <a:cubicBezTo>
                    <a:pt x="17" y="98"/>
                    <a:pt x="29" y="108"/>
                    <a:pt x="43" y="112"/>
                  </a:cubicBezTo>
                  <a:cubicBezTo>
                    <a:pt x="48" y="113"/>
                    <a:pt x="53" y="114"/>
                    <a:pt x="58" y="114"/>
                  </a:cubicBezTo>
                  <a:cubicBezTo>
                    <a:pt x="82" y="114"/>
                    <a:pt x="105" y="98"/>
                    <a:pt x="111" y="74"/>
                  </a:cubicBezTo>
                  <a:cubicBezTo>
                    <a:pt x="115" y="59"/>
                    <a:pt x="114" y="44"/>
                    <a:pt x="106" y="31"/>
                  </a:cubicBezTo>
                  <a:cubicBezTo>
                    <a:pt x="99" y="18"/>
                    <a:pt x="88" y="8"/>
                    <a:pt x="74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6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150840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BB9A967-9DD9-4DD6-A720-46986134B1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0E654D-2240-4341-81DD-73958672DBB4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63299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2" y="1041190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0A18FA5-BB6A-4CAA-B99D-D389D6D3D91C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302371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2" y="1041190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0A18FA5-BB6A-4CAA-B99D-D389D6D3D91C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36577" y="1641354"/>
            <a:ext cx="11117263" cy="43133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172352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A6BACF-7090-44BF-97BE-663BB3AB658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FFC14F3D-5BAB-4889-984E-742B115E2A6C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247A4BB-C49F-46C1-BC09-CB54BF7D332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7CD851-88CA-4B66-B127-8E6BFAD2CE2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447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550883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8" y="3517415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3" y="1579582"/>
            <a:ext cx="4577005" cy="1047752"/>
          </a:xfrm>
        </p:spPr>
        <p:txBody>
          <a:bodyPr lIns="0" rIns="0"/>
          <a:lstStyle>
            <a:lvl1pPr>
              <a:defRPr sz="3129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1B7C1B9-2095-4997-AB3E-0290BD55F2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012" y="769977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32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6286500" y="550883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6499" y="3517415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6582056" y="1579582"/>
            <a:ext cx="4577005" cy="1047752"/>
          </a:xfrm>
        </p:spPr>
        <p:txBody>
          <a:bodyPr lIns="0" rIns="0"/>
          <a:lstStyle>
            <a:lvl1pPr>
              <a:defRPr sz="3129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4432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2669243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8" y="5635775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3" y="3697942"/>
            <a:ext cx="4577005" cy="1047752"/>
          </a:xfrm>
        </p:spPr>
        <p:txBody>
          <a:bodyPr lIns="0" rIns="0"/>
          <a:lstStyle>
            <a:lvl1pPr>
              <a:defRPr sz="3129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65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6286500" y="2669243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6499" y="5635775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6582056" y="3697942"/>
            <a:ext cx="4577005" cy="1047752"/>
          </a:xfrm>
        </p:spPr>
        <p:txBody>
          <a:bodyPr lIns="0" rIns="0"/>
          <a:lstStyle>
            <a:lvl1pPr>
              <a:defRPr sz="3129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BB6D16-F747-419C-9060-5243FEE6BA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2055" y="3035643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368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2874982"/>
            <a:ext cx="5976937" cy="2729847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8" y="5680970"/>
            <a:ext cx="4564758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4" y="3903682"/>
            <a:ext cx="5452036" cy="1055417"/>
          </a:xfrm>
        </p:spPr>
        <p:txBody>
          <a:bodyPr lIns="0" rIns="0"/>
          <a:lstStyle>
            <a:lvl1pPr>
              <a:defRPr sz="3129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E5CC6E-16C7-4467-A9C0-AC40766B86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014" y="3182896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250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AC14F98-EB08-4070-A49C-A8A25D76B6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803"/>
            <a:endParaRPr lang="en-IN" sz="1760">
              <a:solidFill>
                <a:srgbClr val="FFFFFF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838D46C-1FA0-4C20-A3A5-A71F44DAB3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60" y="2404367"/>
            <a:ext cx="11117083" cy="694357"/>
          </a:xfrm>
        </p:spPr>
        <p:txBody>
          <a:bodyPr/>
          <a:lstStyle>
            <a:lvl1pPr>
              <a:defRPr sz="3912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37460" y="1840813"/>
            <a:ext cx="1681854" cy="366502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9" y="4305453"/>
            <a:ext cx="4356100" cy="309562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18954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87CF25C-82C5-4E39-9DBF-813F29A7D8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5191984" y="0"/>
            <a:ext cx="7000015" cy="6858000"/>
          </a:xfrm>
          <a:prstGeom prst="rect">
            <a:avLst/>
          </a:prstGeom>
        </p:spPr>
      </p:pic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93776" y="1837478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3776" y="4577566"/>
            <a:ext cx="5097324" cy="395756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07BD00-5D13-4A3C-90DA-C226C07456C8}"/>
              </a:ext>
            </a:extLst>
          </p:cNvPr>
          <p:cNvSpPr/>
          <p:nvPr userDrawn="1"/>
        </p:nvSpPr>
        <p:spPr>
          <a:xfrm>
            <a:off x="4909930" y="2223653"/>
            <a:ext cx="2514600" cy="1592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600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493776" y="2397865"/>
            <a:ext cx="6996402" cy="1323439"/>
          </a:xfrm>
        </p:spPr>
        <p:txBody>
          <a:bodyPr/>
          <a:lstStyle>
            <a:lvl1pPr>
              <a:defRPr sz="4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9881018-9257-4330-ACBD-1BA79AA27977}"/>
              </a:ext>
            </a:extLst>
          </p:cNvPr>
          <p:cNvSpPr/>
          <p:nvPr userDrawn="1"/>
        </p:nvSpPr>
        <p:spPr>
          <a:xfrm>
            <a:off x="3793657" y="600"/>
            <a:ext cx="2514600" cy="9933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60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78D1809-26DB-4EAB-B9FE-A9F69EA3676B}"/>
              </a:ext>
            </a:extLst>
          </p:cNvPr>
          <p:cNvGrpSpPr/>
          <p:nvPr userDrawn="1"/>
        </p:nvGrpSpPr>
        <p:grpSpPr>
          <a:xfrm>
            <a:off x="493776" y="4255715"/>
            <a:ext cx="612430" cy="125486"/>
            <a:chOff x="575859" y="4778289"/>
            <a:chExt cx="887181" cy="181782"/>
          </a:xfrm>
          <a:solidFill>
            <a:schemeClr val="accent4"/>
          </a:solidFill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4E08BE1-618C-49D8-B7EF-C3C543F809DA}"/>
                </a:ext>
              </a:extLst>
            </p:cNvPr>
            <p:cNvSpPr/>
            <p:nvPr/>
          </p:nvSpPr>
          <p:spPr>
            <a:xfrm>
              <a:off x="575859" y="4778289"/>
              <a:ext cx="181782" cy="18178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600">
                <a:solidFill>
                  <a:prstClr val="white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A3BF6B8-D820-4EF1-9D81-6550D585FB39}"/>
                </a:ext>
              </a:extLst>
            </p:cNvPr>
            <p:cNvSpPr/>
            <p:nvPr/>
          </p:nvSpPr>
          <p:spPr>
            <a:xfrm>
              <a:off x="845820" y="4788492"/>
              <a:ext cx="617220" cy="16137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600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A045D3C-8236-4AEA-9D24-B742D74089AF}"/>
              </a:ext>
            </a:extLst>
          </p:cNvPr>
          <p:cNvGrpSpPr/>
          <p:nvPr userDrawn="1"/>
        </p:nvGrpSpPr>
        <p:grpSpPr>
          <a:xfrm>
            <a:off x="493777" y="668337"/>
            <a:ext cx="1833583" cy="527240"/>
            <a:chOff x="522288" y="496888"/>
            <a:chExt cx="866775" cy="249238"/>
          </a:xfrm>
          <a:solidFill>
            <a:schemeClr val="tx1"/>
          </a:solidFill>
        </p:grpSpPr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79A4EA13-CF31-48DE-96E1-28BADD2F2C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4100" y="500063"/>
              <a:ext cx="38100" cy="244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600">
                <a:solidFill>
                  <a:srgbClr val="000000"/>
                </a:solidFill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5A1E693-B34D-4A8B-9209-B9B03E4A1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500063"/>
              <a:ext cx="106363" cy="244475"/>
            </a:xfrm>
            <a:custGeom>
              <a:avLst/>
              <a:gdLst>
                <a:gd name="T0" fmla="*/ 0 w 67"/>
                <a:gd name="T1" fmla="*/ 0 h 154"/>
                <a:gd name="T2" fmla="*/ 0 w 67"/>
                <a:gd name="T3" fmla="*/ 22 h 154"/>
                <a:gd name="T4" fmla="*/ 44 w 67"/>
                <a:gd name="T5" fmla="*/ 22 h 154"/>
                <a:gd name="T6" fmla="*/ 44 w 67"/>
                <a:gd name="T7" fmla="*/ 154 h 154"/>
                <a:gd name="T8" fmla="*/ 67 w 67"/>
                <a:gd name="T9" fmla="*/ 154 h 154"/>
                <a:gd name="T10" fmla="*/ 67 w 67"/>
                <a:gd name="T11" fmla="*/ 22 h 154"/>
                <a:gd name="T12" fmla="*/ 67 w 67"/>
                <a:gd name="T13" fmla="*/ 0 h 154"/>
                <a:gd name="T14" fmla="*/ 0 w 67"/>
                <a:gd name="T1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154">
                  <a:moveTo>
                    <a:pt x="0" y="0"/>
                  </a:moveTo>
                  <a:lnTo>
                    <a:pt x="0" y="22"/>
                  </a:lnTo>
                  <a:lnTo>
                    <a:pt x="44" y="22"/>
                  </a:lnTo>
                  <a:lnTo>
                    <a:pt x="44" y="154"/>
                  </a:lnTo>
                  <a:lnTo>
                    <a:pt x="67" y="154"/>
                  </a:lnTo>
                  <a:lnTo>
                    <a:pt x="67" y="22"/>
                  </a:lnTo>
                  <a:lnTo>
                    <a:pt x="6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600">
                <a:solidFill>
                  <a:srgbClr val="000000"/>
                </a:solidFill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6B23526B-DCF2-4446-A8DF-97A4358555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575" y="500063"/>
              <a:ext cx="176213" cy="244475"/>
            </a:xfrm>
            <a:custGeom>
              <a:avLst/>
              <a:gdLst>
                <a:gd name="T0" fmla="*/ 411 w 471"/>
                <a:gd name="T1" fmla="*/ 58 h 648"/>
                <a:gd name="T2" fmla="*/ 249 w 471"/>
                <a:gd name="T3" fmla="*/ 0 h 648"/>
                <a:gd name="T4" fmla="*/ 0 w 471"/>
                <a:gd name="T5" fmla="*/ 0 h 648"/>
                <a:gd name="T6" fmla="*/ 0 w 471"/>
                <a:gd name="T7" fmla="*/ 648 h 648"/>
                <a:gd name="T8" fmla="*/ 101 w 471"/>
                <a:gd name="T9" fmla="*/ 648 h 648"/>
                <a:gd name="T10" fmla="*/ 101 w 471"/>
                <a:gd name="T11" fmla="*/ 422 h 648"/>
                <a:gd name="T12" fmla="*/ 242 w 471"/>
                <a:gd name="T13" fmla="*/ 422 h 648"/>
                <a:gd name="T14" fmla="*/ 409 w 471"/>
                <a:gd name="T15" fmla="*/ 365 h 648"/>
                <a:gd name="T16" fmla="*/ 471 w 471"/>
                <a:gd name="T17" fmla="*/ 210 h 648"/>
                <a:gd name="T18" fmla="*/ 411 w 471"/>
                <a:gd name="T19" fmla="*/ 58 h 648"/>
                <a:gd name="T20" fmla="*/ 365 w 471"/>
                <a:gd name="T21" fmla="*/ 210 h 648"/>
                <a:gd name="T22" fmla="*/ 331 w 471"/>
                <a:gd name="T23" fmla="*/ 296 h 648"/>
                <a:gd name="T24" fmla="*/ 233 w 471"/>
                <a:gd name="T25" fmla="*/ 327 h 648"/>
                <a:gd name="T26" fmla="*/ 101 w 471"/>
                <a:gd name="T27" fmla="*/ 327 h 648"/>
                <a:gd name="T28" fmla="*/ 101 w 471"/>
                <a:gd name="T29" fmla="*/ 95 h 648"/>
                <a:gd name="T30" fmla="*/ 239 w 471"/>
                <a:gd name="T31" fmla="*/ 95 h 648"/>
                <a:gd name="T32" fmla="*/ 331 w 471"/>
                <a:gd name="T33" fmla="*/ 126 h 648"/>
                <a:gd name="T34" fmla="*/ 365 w 471"/>
                <a:gd name="T35" fmla="*/ 21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1" h="648">
                  <a:moveTo>
                    <a:pt x="411" y="58"/>
                  </a:moveTo>
                  <a:cubicBezTo>
                    <a:pt x="370" y="20"/>
                    <a:pt x="316" y="0"/>
                    <a:pt x="24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48"/>
                    <a:pt x="0" y="648"/>
                    <a:pt x="0" y="648"/>
                  </a:cubicBezTo>
                  <a:cubicBezTo>
                    <a:pt x="101" y="648"/>
                    <a:pt x="101" y="648"/>
                    <a:pt x="101" y="648"/>
                  </a:cubicBezTo>
                  <a:cubicBezTo>
                    <a:pt x="101" y="422"/>
                    <a:pt x="101" y="422"/>
                    <a:pt x="101" y="422"/>
                  </a:cubicBezTo>
                  <a:cubicBezTo>
                    <a:pt x="242" y="422"/>
                    <a:pt x="242" y="422"/>
                    <a:pt x="242" y="422"/>
                  </a:cubicBezTo>
                  <a:cubicBezTo>
                    <a:pt x="313" y="422"/>
                    <a:pt x="369" y="403"/>
                    <a:pt x="409" y="365"/>
                  </a:cubicBezTo>
                  <a:cubicBezTo>
                    <a:pt x="450" y="327"/>
                    <a:pt x="471" y="275"/>
                    <a:pt x="471" y="210"/>
                  </a:cubicBezTo>
                  <a:cubicBezTo>
                    <a:pt x="471" y="148"/>
                    <a:pt x="451" y="97"/>
                    <a:pt x="411" y="58"/>
                  </a:cubicBezTo>
                  <a:moveTo>
                    <a:pt x="365" y="210"/>
                  </a:moveTo>
                  <a:cubicBezTo>
                    <a:pt x="365" y="247"/>
                    <a:pt x="354" y="276"/>
                    <a:pt x="331" y="296"/>
                  </a:cubicBezTo>
                  <a:cubicBezTo>
                    <a:pt x="308" y="317"/>
                    <a:pt x="275" y="327"/>
                    <a:pt x="233" y="327"/>
                  </a:cubicBezTo>
                  <a:cubicBezTo>
                    <a:pt x="101" y="327"/>
                    <a:pt x="101" y="327"/>
                    <a:pt x="101" y="32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78" y="95"/>
                    <a:pt x="309" y="106"/>
                    <a:pt x="331" y="126"/>
                  </a:cubicBezTo>
                  <a:cubicBezTo>
                    <a:pt x="354" y="146"/>
                    <a:pt x="365" y="174"/>
                    <a:pt x="365" y="2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600">
                <a:solidFill>
                  <a:srgbClr val="000000"/>
                </a:solidFill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55C3E40B-FD7B-49C5-A50A-33AFAB8ED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463" y="500063"/>
              <a:ext cx="182563" cy="244475"/>
            </a:xfrm>
            <a:custGeom>
              <a:avLst/>
              <a:gdLst>
                <a:gd name="T0" fmla="*/ 53 w 115"/>
                <a:gd name="T1" fmla="*/ 75 h 154"/>
                <a:gd name="T2" fmla="*/ 115 w 115"/>
                <a:gd name="T3" fmla="*/ 0 h 154"/>
                <a:gd name="T4" fmla="*/ 86 w 115"/>
                <a:gd name="T5" fmla="*/ 0 h 154"/>
                <a:gd name="T6" fmla="*/ 34 w 115"/>
                <a:gd name="T7" fmla="*/ 64 h 154"/>
                <a:gd name="T8" fmla="*/ 34 w 115"/>
                <a:gd name="T9" fmla="*/ 64 h 154"/>
                <a:gd name="T10" fmla="*/ 33 w 115"/>
                <a:gd name="T11" fmla="*/ 64 h 154"/>
                <a:gd name="T12" fmla="*/ 24 w 115"/>
                <a:gd name="T13" fmla="*/ 64 h 154"/>
                <a:gd name="T14" fmla="*/ 24 w 115"/>
                <a:gd name="T15" fmla="*/ 51 h 154"/>
                <a:gd name="T16" fmla="*/ 24 w 115"/>
                <a:gd name="T17" fmla="*/ 19 h 154"/>
                <a:gd name="T18" fmla="*/ 24 w 115"/>
                <a:gd name="T19" fmla="*/ 0 h 154"/>
                <a:gd name="T20" fmla="*/ 23 w 115"/>
                <a:gd name="T21" fmla="*/ 0 h 154"/>
                <a:gd name="T22" fmla="*/ 0 w 115"/>
                <a:gd name="T23" fmla="*/ 0 h 154"/>
                <a:gd name="T24" fmla="*/ 0 w 115"/>
                <a:gd name="T25" fmla="*/ 19 h 154"/>
                <a:gd name="T26" fmla="*/ 0 w 115"/>
                <a:gd name="T27" fmla="*/ 51 h 154"/>
                <a:gd name="T28" fmla="*/ 0 w 115"/>
                <a:gd name="T29" fmla="*/ 64 h 154"/>
                <a:gd name="T30" fmla="*/ 0 w 115"/>
                <a:gd name="T31" fmla="*/ 86 h 154"/>
                <a:gd name="T32" fmla="*/ 0 w 115"/>
                <a:gd name="T33" fmla="*/ 109 h 154"/>
                <a:gd name="T34" fmla="*/ 24 w 115"/>
                <a:gd name="T35" fmla="*/ 109 h 154"/>
                <a:gd name="T36" fmla="*/ 24 w 115"/>
                <a:gd name="T37" fmla="*/ 86 h 154"/>
                <a:gd name="T38" fmla="*/ 34 w 115"/>
                <a:gd name="T39" fmla="*/ 86 h 154"/>
                <a:gd name="T40" fmla="*/ 44 w 115"/>
                <a:gd name="T41" fmla="*/ 98 h 154"/>
                <a:gd name="T42" fmla="*/ 88 w 115"/>
                <a:gd name="T43" fmla="*/ 154 h 154"/>
                <a:gd name="T44" fmla="*/ 115 w 115"/>
                <a:gd name="T45" fmla="*/ 154 h 154"/>
                <a:gd name="T46" fmla="*/ 53 w 115"/>
                <a:gd name="T47" fmla="*/ 7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5" h="154">
                  <a:moveTo>
                    <a:pt x="53" y="75"/>
                  </a:moveTo>
                  <a:lnTo>
                    <a:pt x="115" y="0"/>
                  </a:lnTo>
                  <a:lnTo>
                    <a:pt x="86" y="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3" y="64"/>
                  </a:lnTo>
                  <a:lnTo>
                    <a:pt x="24" y="64"/>
                  </a:lnTo>
                  <a:lnTo>
                    <a:pt x="24" y="51"/>
                  </a:lnTo>
                  <a:lnTo>
                    <a:pt x="24" y="19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51"/>
                  </a:lnTo>
                  <a:lnTo>
                    <a:pt x="0" y="64"/>
                  </a:lnTo>
                  <a:lnTo>
                    <a:pt x="0" y="86"/>
                  </a:lnTo>
                  <a:lnTo>
                    <a:pt x="0" y="109"/>
                  </a:lnTo>
                  <a:lnTo>
                    <a:pt x="24" y="109"/>
                  </a:lnTo>
                  <a:lnTo>
                    <a:pt x="24" y="86"/>
                  </a:lnTo>
                  <a:lnTo>
                    <a:pt x="34" y="86"/>
                  </a:lnTo>
                  <a:lnTo>
                    <a:pt x="44" y="98"/>
                  </a:lnTo>
                  <a:lnTo>
                    <a:pt x="88" y="154"/>
                  </a:lnTo>
                  <a:lnTo>
                    <a:pt x="115" y="154"/>
                  </a:lnTo>
                  <a:lnTo>
                    <a:pt x="53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600">
                <a:solidFill>
                  <a:srgbClr val="000000"/>
                </a:solidFill>
              </a:endParaRPr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0ABD8C8-DA77-4033-9AF1-7EBB5B37E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613" y="496888"/>
              <a:ext cx="44450" cy="42863"/>
            </a:xfrm>
            <a:custGeom>
              <a:avLst/>
              <a:gdLst>
                <a:gd name="T0" fmla="*/ 73 w 119"/>
                <a:gd name="T1" fmla="*/ 4 h 114"/>
                <a:gd name="T2" fmla="*/ 30 w 119"/>
                <a:gd name="T3" fmla="*/ 9 h 114"/>
                <a:gd name="T4" fmla="*/ 4 w 119"/>
                <a:gd name="T5" fmla="*/ 43 h 114"/>
                <a:gd name="T6" fmla="*/ 9 w 119"/>
                <a:gd name="T7" fmla="*/ 85 h 114"/>
                <a:gd name="T8" fmla="*/ 43 w 119"/>
                <a:gd name="T9" fmla="*/ 112 h 114"/>
                <a:gd name="T10" fmla="*/ 57 w 119"/>
                <a:gd name="T11" fmla="*/ 114 h 114"/>
                <a:gd name="T12" fmla="*/ 111 w 119"/>
                <a:gd name="T13" fmla="*/ 73 h 114"/>
                <a:gd name="T14" fmla="*/ 73 w 119"/>
                <a:gd name="T15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114">
                  <a:moveTo>
                    <a:pt x="73" y="4"/>
                  </a:moveTo>
                  <a:cubicBezTo>
                    <a:pt x="59" y="0"/>
                    <a:pt x="44" y="2"/>
                    <a:pt x="30" y="9"/>
                  </a:cubicBezTo>
                  <a:cubicBezTo>
                    <a:pt x="17" y="17"/>
                    <a:pt x="8" y="29"/>
                    <a:pt x="4" y="43"/>
                  </a:cubicBezTo>
                  <a:cubicBezTo>
                    <a:pt x="0" y="57"/>
                    <a:pt x="1" y="72"/>
                    <a:pt x="9" y="85"/>
                  </a:cubicBezTo>
                  <a:cubicBezTo>
                    <a:pt x="16" y="98"/>
                    <a:pt x="28" y="107"/>
                    <a:pt x="43" y="112"/>
                  </a:cubicBezTo>
                  <a:cubicBezTo>
                    <a:pt x="48" y="113"/>
                    <a:pt x="52" y="114"/>
                    <a:pt x="57" y="114"/>
                  </a:cubicBezTo>
                  <a:cubicBezTo>
                    <a:pt x="81" y="114"/>
                    <a:pt x="104" y="97"/>
                    <a:pt x="111" y="73"/>
                  </a:cubicBezTo>
                  <a:cubicBezTo>
                    <a:pt x="119" y="44"/>
                    <a:pt x="102" y="12"/>
                    <a:pt x="73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600">
                <a:solidFill>
                  <a:srgbClr val="000000"/>
                </a:solidFill>
              </a:endParaRPr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87159288-A5ED-4305-8773-CBBE6AB13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88" y="703263"/>
              <a:ext cx="42863" cy="42863"/>
            </a:xfrm>
            <a:custGeom>
              <a:avLst/>
              <a:gdLst>
                <a:gd name="T0" fmla="*/ 74 w 115"/>
                <a:gd name="T1" fmla="*/ 4 h 114"/>
                <a:gd name="T2" fmla="*/ 31 w 115"/>
                <a:gd name="T3" fmla="*/ 9 h 114"/>
                <a:gd name="T4" fmla="*/ 4 w 115"/>
                <a:gd name="T5" fmla="*/ 43 h 114"/>
                <a:gd name="T6" fmla="*/ 9 w 115"/>
                <a:gd name="T7" fmla="*/ 85 h 114"/>
                <a:gd name="T8" fmla="*/ 43 w 115"/>
                <a:gd name="T9" fmla="*/ 112 h 114"/>
                <a:gd name="T10" fmla="*/ 58 w 115"/>
                <a:gd name="T11" fmla="*/ 114 h 114"/>
                <a:gd name="T12" fmla="*/ 111 w 115"/>
                <a:gd name="T13" fmla="*/ 74 h 114"/>
                <a:gd name="T14" fmla="*/ 106 w 115"/>
                <a:gd name="T15" fmla="*/ 31 h 114"/>
                <a:gd name="T16" fmla="*/ 74 w 115"/>
                <a:gd name="T17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14">
                  <a:moveTo>
                    <a:pt x="74" y="4"/>
                  </a:moveTo>
                  <a:cubicBezTo>
                    <a:pt x="59" y="0"/>
                    <a:pt x="44" y="2"/>
                    <a:pt x="31" y="9"/>
                  </a:cubicBezTo>
                  <a:cubicBezTo>
                    <a:pt x="18" y="17"/>
                    <a:pt x="8" y="29"/>
                    <a:pt x="4" y="43"/>
                  </a:cubicBezTo>
                  <a:cubicBezTo>
                    <a:pt x="0" y="57"/>
                    <a:pt x="2" y="72"/>
                    <a:pt x="9" y="85"/>
                  </a:cubicBezTo>
                  <a:cubicBezTo>
                    <a:pt x="17" y="98"/>
                    <a:pt x="29" y="108"/>
                    <a:pt x="43" y="112"/>
                  </a:cubicBezTo>
                  <a:cubicBezTo>
                    <a:pt x="48" y="113"/>
                    <a:pt x="53" y="114"/>
                    <a:pt x="58" y="114"/>
                  </a:cubicBezTo>
                  <a:cubicBezTo>
                    <a:pt x="82" y="114"/>
                    <a:pt x="105" y="98"/>
                    <a:pt x="111" y="74"/>
                  </a:cubicBezTo>
                  <a:cubicBezTo>
                    <a:pt x="115" y="59"/>
                    <a:pt x="114" y="44"/>
                    <a:pt x="106" y="31"/>
                  </a:cubicBezTo>
                  <a:cubicBezTo>
                    <a:pt x="99" y="18"/>
                    <a:pt x="88" y="8"/>
                    <a:pt x="74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6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152597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Ope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21EBD52-9DDE-4C3D-BF91-2DD57BB3A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37459" y="1840813"/>
            <a:ext cx="1681854" cy="366502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8" y="4519220"/>
            <a:ext cx="5097324" cy="395756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07BD00-5D13-4A3C-90DA-C226C07456C8}"/>
              </a:ext>
            </a:extLst>
          </p:cNvPr>
          <p:cNvSpPr/>
          <p:nvPr userDrawn="1"/>
        </p:nvSpPr>
        <p:spPr>
          <a:xfrm>
            <a:off x="5635487" y="1938131"/>
            <a:ext cx="921028" cy="944218"/>
          </a:xfrm>
          <a:prstGeom prst="rect">
            <a:avLst/>
          </a:prstGeom>
          <a:solidFill>
            <a:srgbClr val="2121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803"/>
            <a:endParaRPr lang="en-IN" sz="1760">
              <a:solidFill>
                <a:srgbClr val="FFFFFF"/>
              </a:solidFill>
            </a:endParaRPr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58" y="2404368"/>
            <a:ext cx="6996402" cy="1296381"/>
          </a:xfrm>
        </p:spPr>
        <p:txBody>
          <a:bodyPr/>
          <a:lstStyle>
            <a:lvl1pPr>
              <a:defRPr sz="3912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BB25C1C-6629-4BA4-9851-F12F6AFDD6B6}"/>
              </a:ext>
            </a:extLst>
          </p:cNvPr>
          <p:cNvGrpSpPr/>
          <p:nvPr userDrawn="1"/>
        </p:nvGrpSpPr>
        <p:grpSpPr>
          <a:xfrm>
            <a:off x="537458" y="4255715"/>
            <a:ext cx="612430" cy="125486"/>
            <a:chOff x="575859" y="4778289"/>
            <a:chExt cx="887181" cy="181782"/>
          </a:xfrm>
          <a:solidFill>
            <a:schemeClr val="accent4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F9D0966-B22F-47C2-BA2B-ECBA03B6232D}"/>
                </a:ext>
              </a:extLst>
            </p:cNvPr>
            <p:cNvSpPr/>
            <p:nvPr/>
          </p:nvSpPr>
          <p:spPr>
            <a:xfrm>
              <a:off x="575859" y="4778289"/>
              <a:ext cx="181782" cy="18178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04803"/>
              <a:endParaRPr lang="en-IN" sz="1760">
                <a:solidFill>
                  <a:prstClr val="white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14F64AA-4A70-49BD-9FA1-7F42629FCA3C}"/>
                </a:ext>
              </a:extLst>
            </p:cNvPr>
            <p:cNvSpPr/>
            <p:nvPr/>
          </p:nvSpPr>
          <p:spPr>
            <a:xfrm>
              <a:off x="845820" y="4788492"/>
              <a:ext cx="617220" cy="16137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04803"/>
              <a:endParaRPr lang="en-IN" sz="1760">
                <a:solidFill>
                  <a:prstClr val="white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E003E77-5EC9-4043-82E6-DA753DA68411}"/>
              </a:ext>
            </a:extLst>
          </p:cNvPr>
          <p:cNvGrpSpPr/>
          <p:nvPr userDrawn="1"/>
        </p:nvGrpSpPr>
        <p:grpSpPr>
          <a:xfrm>
            <a:off x="537459" y="668338"/>
            <a:ext cx="1833583" cy="527240"/>
            <a:chOff x="522288" y="496888"/>
            <a:chExt cx="866775" cy="249238"/>
          </a:xfrm>
          <a:solidFill>
            <a:schemeClr val="accent2"/>
          </a:solidFill>
        </p:grpSpPr>
        <p:sp>
          <p:nvSpPr>
            <p:cNvPr id="17" name="Rectangle 5">
              <a:extLst>
                <a:ext uri="{FF2B5EF4-FFF2-40B4-BE49-F238E27FC236}">
                  <a16:creationId xmlns:a16="http://schemas.microsoft.com/office/drawing/2014/main" id="{D171461C-7E11-4727-BC70-1A3E99B78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4100" y="500063"/>
              <a:ext cx="38100" cy="244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304803"/>
              <a:endParaRPr lang="en-IN" sz="1760">
                <a:solidFill>
                  <a:srgbClr val="000000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DCB1985-1E91-4176-A736-EDBF686BA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500063"/>
              <a:ext cx="106363" cy="244475"/>
            </a:xfrm>
            <a:custGeom>
              <a:avLst/>
              <a:gdLst>
                <a:gd name="T0" fmla="*/ 0 w 67"/>
                <a:gd name="T1" fmla="*/ 0 h 154"/>
                <a:gd name="T2" fmla="*/ 0 w 67"/>
                <a:gd name="T3" fmla="*/ 22 h 154"/>
                <a:gd name="T4" fmla="*/ 44 w 67"/>
                <a:gd name="T5" fmla="*/ 22 h 154"/>
                <a:gd name="T6" fmla="*/ 44 w 67"/>
                <a:gd name="T7" fmla="*/ 154 h 154"/>
                <a:gd name="T8" fmla="*/ 67 w 67"/>
                <a:gd name="T9" fmla="*/ 154 h 154"/>
                <a:gd name="T10" fmla="*/ 67 w 67"/>
                <a:gd name="T11" fmla="*/ 22 h 154"/>
                <a:gd name="T12" fmla="*/ 67 w 67"/>
                <a:gd name="T13" fmla="*/ 0 h 154"/>
                <a:gd name="T14" fmla="*/ 0 w 67"/>
                <a:gd name="T1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154">
                  <a:moveTo>
                    <a:pt x="0" y="0"/>
                  </a:moveTo>
                  <a:lnTo>
                    <a:pt x="0" y="22"/>
                  </a:lnTo>
                  <a:lnTo>
                    <a:pt x="44" y="22"/>
                  </a:lnTo>
                  <a:lnTo>
                    <a:pt x="44" y="154"/>
                  </a:lnTo>
                  <a:lnTo>
                    <a:pt x="67" y="154"/>
                  </a:lnTo>
                  <a:lnTo>
                    <a:pt x="67" y="22"/>
                  </a:lnTo>
                  <a:lnTo>
                    <a:pt x="6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304803"/>
              <a:endParaRPr lang="en-IN" sz="1760">
                <a:solidFill>
                  <a:srgbClr val="000000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BA7B760-C9CC-4119-BE9E-1F211E9518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575" y="500063"/>
              <a:ext cx="176213" cy="244475"/>
            </a:xfrm>
            <a:custGeom>
              <a:avLst/>
              <a:gdLst>
                <a:gd name="T0" fmla="*/ 411 w 471"/>
                <a:gd name="T1" fmla="*/ 58 h 648"/>
                <a:gd name="T2" fmla="*/ 249 w 471"/>
                <a:gd name="T3" fmla="*/ 0 h 648"/>
                <a:gd name="T4" fmla="*/ 0 w 471"/>
                <a:gd name="T5" fmla="*/ 0 h 648"/>
                <a:gd name="T6" fmla="*/ 0 w 471"/>
                <a:gd name="T7" fmla="*/ 648 h 648"/>
                <a:gd name="T8" fmla="*/ 101 w 471"/>
                <a:gd name="T9" fmla="*/ 648 h 648"/>
                <a:gd name="T10" fmla="*/ 101 w 471"/>
                <a:gd name="T11" fmla="*/ 422 h 648"/>
                <a:gd name="T12" fmla="*/ 242 w 471"/>
                <a:gd name="T13" fmla="*/ 422 h 648"/>
                <a:gd name="T14" fmla="*/ 409 w 471"/>
                <a:gd name="T15" fmla="*/ 365 h 648"/>
                <a:gd name="T16" fmla="*/ 471 w 471"/>
                <a:gd name="T17" fmla="*/ 210 h 648"/>
                <a:gd name="T18" fmla="*/ 411 w 471"/>
                <a:gd name="T19" fmla="*/ 58 h 648"/>
                <a:gd name="T20" fmla="*/ 365 w 471"/>
                <a:gd name="T21" fmla="*/ 210 h 648"/>
                <a:gd name="T22" fmla="*/ 331 w 471"/>
                <a:gd name="T23" fmla="*/ 296 h 648"/>
                <a:gd name="T24" fmla="*/ 233 w 471"/>
                <a:gd name="T25" fmla="*/ 327 h 648"/>
                <a:gd name="T26" fmla="*/ 101 w 471"/>
                <a:gd name="T27" fmla="*/ 327 h 648"/>
                <a:gd name="T28" fmla="*/ 101 w 471"/>
                <a:gd name="T29" fmla="*/ 95 h 648"/>
                <a:gd name="T30" fmla="*/ 239 w 471"/>
                <a:gd name="T31" fmla="*/ 95 h 648"/>
                <a:gd name="T32" fmla="*/ 331 w 471"/>
                <a:gd name="T33" fmla="*/ 126 h 648"/>
                <a:gd name="T34" fmla="*/ 365 w 471"/>
                <a:gd name="T35" fmla="*/ 21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1" h="648">
                  <a:moveTo>
                    <a:pt x="411" y="58"/>
                  </a:moveTo>
                  <a:cubicBezTo>
                    <a:pt x="370" y="20"/>
                    <a:pt x="316" y="0"/>
                    <a:pt x="24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48"/>
                    <a:pt x="0" y="648"/>
                    <a:pt x="0" y="648"/>
                  </a:cubicBezTo>
                  <a:cubicBezTo>
                    <a:pt x="101" y="648"/>
                    <a:pt x="101" y="648"/>
                    <a:pt x="101" y="648"/>
                  </a:cubicBezTo>
                  <a:cubicBezTo>
                    <a:pt x="101" y="422"/>
                    <a:pt x="101" y="422"/>
                    <a:pt x="101" y="422"/>
                  </a:cubicBezTo>
                  <a:cubicBezTo>
                    <a:pt x="242" y="422"/>
                    <a:pt x="242" y="422"/>
                    <a:pt x="242" y="422"/>
                  </a:cubicBezTo>
                  <a:cubicBezTo>
                    <a:pt x="313" y="422"/>
                    <a:pt x="369" y="403"/>
                    <a:pt x="409" y="365"/>
                  </a:cubicBezTo>
                  <a:cubicBezTo>
                    <a:pt x="450" y="327"/>
                    <a:pt x="471" y="275"/>
                    <a:pt x="471" y="210"/>
                  </a:cubicBezTo>
                  <a:cubicBezTo>
                    <a:pt x="471" y="148"/>
                    <a:pt x="451" y="97"/>
                    <a:pt x="411" y="58"/>
                  </a:cubicBezTo>
                  <a:moveTo>
                    <a:pt x="365" y="210"/>
                  </a:moveTo>
                  <a:cubicBezTo>
                    <a:pt x="365" y="247"/>
                    <a:pt x="354" y="276"/>
                    <a:pt x="331" y="296"/>
                  </a:cubicBezTo>
                  <a:cubicBezTo>
                    <a:pt x="308" y="317"/>
                    <a:pt x="275" y="327"/>
                    <a:pt x="233" y="327"/>
                  </a:cubicBezTo>
                  <a:cubicBezTo>
                    <a:pt x="101" y="327"/>
                    <a:pt x="101" y="327"/>
                    <a:pt x="101" y="32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78" y="95"/>
                    <a:pt x="309" y="106"/>
                    <a:pt x="331" y="126"/>
                  </a:cubicBezTo>
                  <a:cubicBezTo>
                    <a:pt x="354" y="146"/>
                    <a:pt x="365" y="174"/>
                    <a:pt x="365" y="2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304803"/>
              <a:endParaRPr lang="en-IN" sz="1760">
                <a:solidFill>
                  <a:srgbClr val="000000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9D52E03-D7AD-4990-8226-88567044F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463" y="500063"/>
              <a:ext cx="182563" cy="244475"/>
            </a:xfrm>
            <a:custGeom>
              <a:avLst/>
              <a:gdLst>
                <a:gd name="T0" fmla="*/ 53 w 115"/>
                <a:gd name="T1" fmla="*/ 75 h 154"/>
                <a:gd name="T2" fmla="*/ 115 w 115"/>
                <a:gd name="T3" fmla="*/ 0 h 154"/>
                <a:gd name="T4" fmla="*/ 86 w 115"/>
                <a:gd name="T5" fmla="*/ 0 h 154"/>
                <a:gd name="T6" fmla="*/ 34 w 115"/>
                <a:gd name="T7" fmla="*/ 64 h 154"/>
                <a:gd name="T8" fmla="*/ 34 w 115"/>
                <a:gd name="T9" fmla="*/ 64 h 154"/>
                <a:gd name="T10" fmla="*/ 33 w 115"/>
                <a:gd name="T11" fmla="*/ 64 h 154"/>
                <a:gd name="T12" fmla="*/ 24 w 115"/>
                <a:gd name="T13" fmla="*/ 64 h 154"/>
                <a:gd name="T14" fmla="*/ 24 w 115"/>
                <a:gd name="T15" fmla="*/ 51 h 154"/>
                <a:gd name="T16" fmla="*/ 24 w 115"/>
                <a:gd name="T17" fmla="*/ 19 h 154"/>
                <a:gd name="T18" fmla="*/ 24 w 115"/>
                <a:gd name="T19" fmla="*/ 0 h 154"/>
                <a:gd name="T20" fmla="*/ 23 w 115"/>
                <a:gd name="T21" fmla="*/ 0 h 154"/>
                <a:gd name="T22" fmla="*/ 0 w 115"/>
                <a:gd name="T23" fmla="*/ 0 h 154"/>
                <a:gd name="T24" fmla="*/ 0 w 115"/>
                <a:gd name="T25" fmla="*/ 19 h 154"/>
                <a:gd name="T26" fmla="*/ 0 w 115"/>
                <a:gd name="T27" fmla="*/ 51 h 154"/>
                <a:gd name="T28" fmla="*/ 0 w 115"/>
                <a:gd name="T29" fmla="*/ 64 h 154"/>
                <a:gd name="T30" fmla="*/ 0 w 115"/>
                <a:gd name="T31" fmla="*/ 86 h 154"/>
                <a:gd name="T32" fmla="*/ 0 w 115"/>
                <a:gd name="T33" fmla="*/ 109 h 154"/>
                <a:gd name="T34" fmla="*/ 24 w 115"/>
                <a:gd name="T35" fmla="*/ 109 h 154"/>
                <a:gd name="T36" fmla="*/ 24 w 115"/>
                <a:gd name="T37" fmla="*/ 86 h 154"/>
                <a:gd name="T38" fmla="*/ 34 w 115"/>
                <a:gd name="T39" fmla="*/ 86 h 154"/>
                <a:gd name="T40" fmla="*/ 44 w 115"/>
                <a:gd name="T41" fmla="*/ 98 h 154"/>
                <a:gd name="T42" fmla="*/ 88 w 115"/>
                <a:gd name="T43" fmla="*/ 154 h 154"/>
                <a:gd name="T44" fmla="*/ 115 w 115"/>
                <a:gd name="T45" fmla="*/ 154 h 154"/>
                <a:gd name="T46" fmla="*/ 53 w 115"/>
                <a:gd name="T47" fmla="*/ 7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5" h="154">
                  <a:moveTo>
                    <a:pt x="53" y="75"/>
                  </a:moveTo>
                  <a:lnTo>
                    <a:pt x="115" y="0"/>
                  </a:lnTo>
                  <a:lnTo>
                    <a:pt x="86" y="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3" y="64"/>
                  </a:lnTo>
                  <a:lnTo>
                    <a:pt x="24" y="64"/>
                  </a:lnTo>
                  <a:lnTo>
                    <a:pt x="24" y="51"/>
                  </a:lnTo>
                  <a:lnTo>
                    <a:pt x="24" y="19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51"/>
                  </a:lnTo>
                  <a:lnTo>
                    <a:pt x="0" y="64"/>
                  </a:lnTo>
                  <a:lnTo>
                    <a:pt x="0" y="86"/>
                  </a:lnTo>
                  <a:lnTo>
                    <a:pt x="0" y="109"/>
                  </a:lnTo>
                  <a:lnTo>
                    <a:pt x="24" y="109"/>
                  </a:lnTo>
                  <a:lnTo>
                    <a:pt x="24" y="86"/>
                  </a:lnTo>
                  <a:lnTo>
                    <a:pt x="34" y="86"/>
                  </a:lnTo>
                  <a:lnTo>
                    <a:pt x="44" y="98"/>
                  </a:lnTo>
                  <a:lnTo>
                    <a:pt x="88" y="154"/>
                  </a:lnTo>
                  <a:lnTo>
                    <a:pt x="115" y="154"/>
                  </a:lnTo>
                  <a:lnTo>
                    <a:pt x="53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304803"/>
              <a:endParaRPr lang="en-IN" sz="1760">
                <a:solidFill>
                  <a:srgbClr val="000000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D48C1F2-89B1-4202-8201-04D58C387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613" y="496888"/>
              <a:ext cx="44450" cy="42863"/>
            </a:xfrm>
            <a:custGeom>
              <a:avLst/>
              <a:gdLst>
                <a:gd name="T0" fmla="*/ 73 w 119"/>
                <a:gd name="T1" fmla="*/ 4 h 114"/>
                <a:gd name="T2" fmla="*/ 30 w 119"/>
                <a:gd name="T3" fmla="*/ 9 h 114"/>
                <a:gd name="T4" fmla="*/ 4 w 119"/>
                <a:gd name="T5" fmla="*/ 43 h 114"/>
                <a:gd name="T6" fmla="*/ 9 w 119"/>
                <a:gd name="T7" fmla="*/ 85 h 114"/>
                <a:gd name="T8" fmla="*/ 43 w 119"/>
                <a:gd name="T9" fmla="*/ 112 h 114"/>
                <a:gd name="T10" fmla="*/ 57 w 119"/>
                <a:gd name="T11" fmla="*/ 114 h 114"/>
                <a:gd name="T12" fmla="*/ 111 w 119"/>
                <a:gd name="T13" fmla="*/ 73 h 114"/>
                <a:gd name="T14" fmla="*/ 73 w 119"/>
                <a:gd name="T15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114">
                  <a:moveTo>
                    <a:pt x="73" y="4"/>
                  </a:moveTo>
                  <a:cubicBezTo>
                    <a:pt x="59" y="0"/>
                    <a:pt x="44" y="2"/>
                    <a:pt x="30" y="9"/>
                  </a:cubicBezTo>
                  <a:cubicBezTo>
                    <a:pt x="17" y="17"/>
                    <a:pt x="8" y="29"/>
                    <a:pt x="4" y="43"/>
                  </a:cubicBezTo>
                  <a:cubicBezTo>
                    <a:pt x="0" y="57"/>
                    <a:pt x="1" y="72"/>
                    <a:pt x="9" y="85"/>
                  </a:cubicBezTo>
                  <a:cubicBezTo>
                    <a:pt x="16" y="98"/>
                    <a:pt x="28" y="107"/>
                    <a:pt x="43" y="112"/>
                  </a:cubicBezTo>
                  <a:cubicBezTo>
                    <a:pt x="48" y="113"/>
                    <a:pt x="52" y="114"/>
                    <a:pt x="57" y="114"/>
                  </a:cubicBezTo>
                  <a:cubicBezTo>
                    <a:pt x="81" y="114"/>
                    <a:pt x="104" y="97"/>
                    <a:pt x="111" y="73"/>
                  </a:cubicBezTo>
                  <a:cubicBezTo>
                    <a:pt x="119" y="44"/>
                    <a:pt x="102" y="12"/>
                    <a:pt x="73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304803"/>
              <a:endParaRPr lang="en-IN" sz="1760">
                <a:solidFill>
                  <a:srgbClr val="000000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83419930-EB06-420C-9C85-6453A218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88" y="703263"/>
              <a:ext cx="42863" cy="42863"/>
            </a:xfrm>
            <a:custGeom>
              <a:avLst/>
              <a:gdLst>
                <a:gd name="T0" fmla="*/ 74 w 115"/>
                <a:gd name="T1" fmla="*/ 4 h 114"/>
                <a:gd name="T2" fmla="*/ 31 w 115"/>
                <a:gd name="T3" fmla="*/ 9 h 114"/>
                <a:gd name="T4" fmla="*/ 4 w 115"/>
                <a:gd name="T5" fmla="*/ 43 h 114"/>
                <a:gd name="T6" fmla="*/ 9 w 115"/>
                <a:gd name="T7" fmla="*/ 85 h 114"/>
                <a:gd name="T8" fmla="*/ 43 w 115"/>
                <a:gd name="T9" fmla="*/ 112 h 114"/>
                <a:gd name="T10" fmla="*/ 58 w 115"/>
                <a:gd name="T11" fmla="*/ 114 h 114"/>
                <a:gd name="T12" fmla="*/ 111 w 115"/>
                <a:gd name="T13" fmla="*/ 74 h 114"/>
                <a:gd name="T14" fmla="*/ 106 w 115"/>
                <a:gd name="T15" fmla="*/ 31 h 114"/>
                <a:gd name="T16" fmla="*/ 74 w 115"/>
                <a:gd name="T17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14">
                  <a:moveTo>
                    <a:pt x="74" y="4"/>
                  </a:moveTo>
                  <a:cubicBezTo>
                    <a:pt x="59" y="0"/>
                    <a:pt x="44" y="2"/>
                    <a:pt x="31" y="9"/>
                  </a:cubicBezTo>
                  <a:cubicBezTo>
                    <a:pt x="18" y="17"/>
                    <a:pt x="8" y="29"/>
                    <a:pt x="4" y="43"/>
                  </a:cubicBezTo>
                  <a:cubicBezTo>
                    <a:pt x="0" y="57"/>
                    <a:pt x="2" y="72"/>
                    <a:pt x="9" y="85"/>
                  </a:cubicBezTo>
                  <a:cubicBezTo>
                    <a:pt x="17" y="98"/>
                    <a:pt x="29" y="108"/>
                    <a:pt x="43" y="112"/>
                  </a:cubicBezTo>
                  <a:cubicBezTo>
                    <a:pt x="48" y="113"/>
                    <a:pt x="53" y="114"/>
                    <a:pt x="58" y="114"/>
                  </a:cubicBezTo>
                  <a:cubicBezTo>
                    <a:pt x="82" y="114"/>
                    <a:pt x="105" y="98"/>
                    <a:pt x="111" y="74"/>
                  </a:cubicBezTo>
                  <a:cubicBezTo>
                    <a:pt x="115" y="59"/>
                    <a:pt x="114" y="44"/>
                    <a:pt x="106" y="31"/>
                  </a:cubicBezTo>
                  <a:cubicBezTo>
                    <a:pt x="99" y="18"/>
                    <a:pt x="88" y="8"/>
                    <a:pt x="74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304803"/>
              <a:endParaRPr lang="en-IN" sz="176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940244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87CF25C-82C5-4E39-9DBF-813F29A7D8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5191986" y="0"/>
            <a:ext cx="7000015" cy="6858000"/>
          </a:xfrm>
          <a:prstGeom prst="rect">
            <a:avLst/>
          </a:prstGeom>
        </p:spPr>
      </p:pic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93777" y="1840813"/>
            <a:ext cx="1681854" cy="366502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3776" y="4577566"/>
            <a:ext cx="5097324" cy="395756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07BD00-5D13-4A3C-90DA-C226C07456C8}"/>
              </a:ext>
            </a:extLst>
          </p:cNvPr>
          <p:cNvSpPr/>
          <p:nvPr userDrawn="1"/>
        </p:nvSpPr>
        <p:spPr>
          <a:xfrm>
            <a:off x="4909930" y="2223653"/>
            <a:ext cx="2514600" cy="1592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803"/>
            <a:endParaRPr lang="en-IN" sz="1760">
              <a:solidFill>
                <a:srgbClr val="FFFFFF"/>
              </a:solidFill>
            </a:endParaRPr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493776" y="2397866"/>
            <a:ext cx="6996402" cy="1296381"/>
          </a:xfrm>
        </p:spPr>
        <p:txBody>
          <a:bodyPr/>
          <a:lstStyle>
            <a:lvl1pPr>
              <a:defRPr sz="3912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9881018-9257-4330-ACBD-1BA79AA27977}"/>
              </a:ext>
            </a:extLst>
          </p:cNvPr>
          <p:cNvSpPr/>
          <p:nvPr userDrawn="1"/>
        </p:nvSpPr>
        <p:spPr>
          <a:xfrm>
            <a:off x="3793657" y="602"/>
            <a:ext cx="2514600" cy="9933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803"/>
            <a:endParaRPr lang="en-IN" sz="1760">
              <a:solidFill>
                <a:srgbClr val="FFFFFF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78D1809-26DB-4EAB-B9FE-A9F69EA3676B}"/>
              </a:ext>
            </a:extLst>
          </p:cNvPr>
          <p:cNvGrpSpPr/>
          <p:nvPr userDrawn="1"/>
        </p:nvGrpSpPr>
        <p:grpSpPr>
          <a:xfrm>
            <a:off x="493776" y="4255715"/>
            <a:ext cx="612430" cy="125486"/>
            <a:chOff x="575859" y="4778289"/>
            <a:chExt cx="887181" cy="181782"/>
          </a:xfrm>
          <a:solidFill>
            <a:schemeClr val="accent4"/>
          </a:solidFill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4E08BE1-618C-49D8-B7EF-C3C543F809DA}"/>
                </a:ext>
              </a:extLst>
            </p:cNvPr>
            <p:cNvSpPr/>
            <p:nvPr/>
          </p:nvSpPr>
          <p:spPr>
            <a:xfrm>
              <a:off x="575859" y="4778289"/>
              <a:ext cx="181782" cy="18178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04803"/>
              <a:endParaRPr lang="en-IN" sz="1760">
                <a:solidFill>
                  <a:prstClr val="white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A3BF6B8-D820-4EF1-9D81-6550D585FB39}"/>
                </a:ext>
              </a:extLst>
            </p:cNvPr>
            <p:cNvSpPr/>
            <p:nvPr/>
          </p:nvSpPr>
          <p:spPr>
            <a:xfrm>
              <a:off x="845820" y="4788492"/>
              <a:ext cx="617220" cy="16137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04803"/>
              <a:endParaRPr lang="en-IN" sz="1760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A045D3C-8236-4AEA-9D24-B742D74089AF}"/>
              </a:ext>
            </a:extLst>
          </p:cNvPr>
          <p:cNvGrpSpPr/>
          <p:nvPr userDrawn="1"/>
        </p:nvGrpSpPr>
        <p:grpSpPr>
          <a:xfrm>
            <a:off x="493778" y="668338"/>
            <a:ext cx="1833583" cy="527240"/>
            <a:chOff x="522288" y="496888"/>
            <a:chExt cx="866775" cy="249238"/>
          </a:xfrm>
          <a:solidFill>
            <a:schemeClr val="tx1"/>
          </a:solidFill>
        </p:grpSpPr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79A4EA13-CF31-48DE-96E1-28BADD2F2C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4100" y="500063"/>
              <a:ext cx="38100" cy="244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304803"/>
              <a:endParaRPr lang="en-IN" sz="1760">
                <a:solidFill>
                  <a:srgbClr val="000000"/>
                </a:solidFill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5A1E693-B34D-4A8B-9209-B9B03E4A1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500063"/>
              <a:ext cx="106363" cy="244475"/>
            </a:xfrm>
            <a:custGeom>
              <a:avLst/>
              <a:gdLst>
                <a:gd name="T0" fmla="*/ 0 w 67"/>
                <a:gd name="T1" fmla="*/ 0 h 154"/>
                <a:gd name="T2" fmla="*/ 0 w 67"/>
                <a:gd name="T3" fmla="*/ 22 h 154"/>
                <a:gd name="T4" fmla="*/ 44 w 67"/>
                <a:gd name="T5" fmla="*/ 22 h 154"/>
                <a:gd name="T6" fmla="*/ 44 w 67"/>
                <a:gd name="T7" fmla="*/ 154 h 154"/>
                <a:gd name="T8" fmla="*/ 67 w 67"/>
                <a:gd name="T9" fmla="*/ 154 h 154"/>
                <a:gd name="T10" fmla="*/ 67 w 67"/>
                <a:gd name="T11" fmla="*/ 22 h 154"/>
                <a:gd name="T12" fmla="*/ 67 w 67"/>
                <a:gd name="T13" fmla="*/ 0 h 154"/>
                <a:gd name="T14" fmla="*/ 0 w 67"/>
                <a:gd name="T1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154">
                  <a:moveTo>
                    <a:pt x="0" y="0"/>
                  </a:moveTo>
                  <a:lnTo>
                    <a:pt x="0" y="22"/>
                  </a:lnTo>
                  <a:lnTo>
                    <a:pt x="44" y="22"/>
                  </a:lnTo>
                  <a:lnTo>
                    <a:pt x="44" y="154"/>
                  </a:lnTo>
                  <a:lnTo>
                    <a:pt x="67" y="154"/>
                  </a:lnTo>
                  <a:lnTo>
                    <a:pt x="67" y="22"/>
                  </a:lnTo>
                  <a:lnTo>
                    <a:pt x="6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304803"/>
              <a:endParaRPr lang="en-IN" sz="1760">
                <a:solidFill>
                  <a:srgbClr val="000000"/>
                </a:solidFill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6B23526B-DCF2-4446-A8DF-97A4358555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575" y="500063"/>
              <a:ext cx="176213" cy="244475"/>
            </a:xfrm>
            <a:custGeom>
              <a:avLst/>
              <a:gdLst>
                <a:gd name="T0" fmla="*/ 411 w 471"/>
                <a:gd name="T1" fmla="*/ 58 h 648"/>
                <a:gd name="T2" fmla="*/ 249 w 471"/>
                <a:gd name="T3" fmla="*/ 0 h 648"/>
                <a:gd name="T4" fmla="*/ 0 w 471"/>
                <a:gd name="T5" fmla="*/ 0 h 648"/>
                <a:gd name="T6" fmla="*/ 0 w 471"/>
                <a:gd name="T7" fmla="*/ 648 h 648"/>
                <a:gd name="T8" fmla="*/ 101 w 471"/>
                <a:gd name="T9" fmla="*/ 648 h 648"/>
                <a:gd name="T10" fmla="*/ 101 w 471"/>
                <a:gd name="T11" fmla="*/ 422 h 648"/>
                <a:gd name="T12" fmla="*/ 242 w 471"/>
                <a:gd name="T13" fmla="*/ 422 h 648"/>
                <a:gd name="T14" fmla="*/ 409 w 471"/>
                <a:gd name="T15" fmla="*/ 365 h 648"/>
                <a:gd name="T16" fmla="*/ 471 w 471"/>
                <a:gd name="T17" fmla="*/ 210 h 648"/>
                <a:gd name="T18" fmla="*/ 411 w 471"/>
                <a:gd name="T19" fmla="*/ 58 h 648"/>
                <a:gd name="T20" fmla="*/ 365 w 471"/>
                <a:gd name="T21" fmla="*/ 210 h 648"/>
                <a:gd name="T22" fmla="*/ 331 w 471"/>
                <a:gd name="T23" fmla="*/ 296 h 648"/>
                <a:gd name="T24" fmla="*/ 233 w 471"/>
                <a:gd name="T25" fmla="*/ 327 h 648"/>
                <a:gd name="T26" fmla="*/ 101 w 471"/>
                <a:gd name="T27" fmla="*/ 327 h 648"/>
                <a:gd name="T28" fmla="*/ 101 w 471"/>
                <a:gd name="T29" fmla="*/ 95 h 648"/>
                <a:gd name="T30" fmla="*/ 239 w 471"/>
                <a:gd name="T31" fmla="*/ 95 h 648"/>
                <a:gd name="T32" fmla="*/ 331 w 471"/>
                <a:gd name="T33" fmla="*/ 126 h 648"/>
                <a:gd name="T34" fmla="*/ 365 w 471"/>
                <a:gd name="T35" fmla="*/ 21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1" h="648">
                  <a:moveTo>
                    <a:pt x="411" y="58"/>
                  </a:moveTo>
                  <a:cubicBezTo>
                    <a:pt x="370" y="20"/>
                    <a:pt x="316" y="0"/>
                    <a:pt x="24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48"/>
                    <a:pt x="0" y="648"/>
                    <a:pt x="0" y="648"/>
                  </a:cubicBezTo>
                  <a:cubicBezTo>
                    <a:pt x="101" y="648"/>
                    <a:pt x="101" y="648"/>
                    <a:pt x="101" y="648"/>
                  </a:cubicBezTo>
                  <a:cubicBezTo>
                    <a:pt x="101" y="422"/>
                    <a:pt x="101" y="422"/>
                    <a:pt x="101" y="422"/>
                  </a:cubicBezTo>
                  <a:cubicBezTo>
                    <a:pt x="242" y="422"/>
                    <a:pt x="242" y="422"/>
                    <a:pt x="242" y="422"/>
                  </a:cubicBezTo>
                  <a:cubicBezTo>
                    <a:pt x="313" y="422"/>
                    <a:pt x="369" y="403"/>
                    <a:pt x="409" y="365"/>
                  </a:cubicBezTo>
                  <a:cubicBezTo>
                    <a:pt x="450" y="327"/>
                    <a:pt x="471" y="275"/>
                    <a:pt x="471" y="210"/>
                  </a:cubicBezTo>
                  <a:cubicBezTo>
                    <a:pt x="471" y="148"/>
                    <a:pt x="451" y="97"/>
                    <a:pt x="411" y="58"/>
                  </a:cubicBezTo>
                  <a:moveTo>
                    <a:pt x="365" y="210"/>
                  </a:moveTo>
                  <a:cubicBezTo>
                    <a:pt x="365" y="247"/>
                    <a:pt x="354" y="276"/>
                    <a:pt x="331" y="296"/>
                  </a:cubicBezTo>
                  <a:cubicBezTo>
                    <a:pt x="308" y="317"/>
                    <a:pt x="275" y="327"/>
                    <a:pt x="233" y="327"/>
                  </a:cubicBezTo>
                  <a:cubicBezTo>
                    <a:pt x="101" y="327"/>
                    <a:pt x="101" y="327"/>
                    <a:pt x="101" y="32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78" y="95"/>
                    <a:pt x="309" y="106"/>
                    <a:pt x="331" y="126"/>
                  </a:cubicBezTo>
                  <a:cubicBezTo>
                    <a:pt x="354" y="146"/>
                    <a:pt x="365" y="174"/>
                    <a:pt x="365" y="2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304803"/>
              <a:endParaRPr lang="en-IN" sz="1760">
                <a:solidFill>
                  <a:srgbClr val="000000"/>
                </a:solidFill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55C3E40B-FD7B-49C5-A50A-33AFAB8ED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463" y="500063"/>
              <a:ext cx="182563" cy="244475"/>
            </a:xfrm>
            <a:custGeom>
              <a:avLst/>
              <a:gdLst>
                <a:gd name="T0" fmla="*/ 53 w 115"/>
                <a:gd name="T1" fmla="*/ 75 h 154"/>
                <a:gd name="T2" fmla="*/ 115 w 115"/>
                <a:gd name="T3" fmla="*/ 0 h 154"/>
                <a:gd name="T4" fmla="*/ 86 w 115"/>
                <a:gd name="T5" fmla="*/ 0 h 154"/>
                <a:gd name="T6" fmla="*/ 34 w 115"/>
                <a:gd name="T7" fmla="*/ 64 h 154"/>
                <a:gd name="T8" fmla="*/ 34 w 115"/>
                <a:gd name="T9" fmla="*/ 64 h 154"/>
                <a:gd name="T10" fmla="*/ 33 w 115"/>
                <a:gd name="T11" fmla="*/ 64 h 154"/>
                <a:gd name="T12" fmla="*/ 24 w 115"/>
                <a:gd name="T13" fmla="*/ 64 h 154"/>
                <a:gd name="T14" fmla="*/ 24 w 115"/>
                <a:gd name="T15" fmla="*/ 51 h 154"/>
                <a:gd name="T16" fmla="*/ 24 w 115"/>
                <a:gd name="T17" fmla="*/ 19 h 154"/>
                <a:gd name="T18" fmla="*/ 24 w 115"/>
                <a:gd name="T19" fmla="*/ 0 h 154"/>
                <a:gd name="T20" fmla="*/ 23 w 115"/>
                <a:gd name="T21" fmla="*/ 0 h 154"/>
                <a:gd name="T22" fmla="*/ 0 w 115"/>
                <a:gd name="T23" fmla="*/ 0 h 154"/>
                <a:gd name="T24" fmla="*/ 0 w 115"/>
                <a:gd name="T25" fmla="*/ 19 h 154"/>
                <a:gd name="T26" fmla="*/ 0 w 115"/>
                <a:gd name="T27" fmla="*/ 51 h 154"/>
                <a:gd name="T28" fmla="*/ 0 w 115"/>
                <a:gd name="T29" fmla="*/ 64 h 154"/>
                <a:gd name="T30" fmla="*/ 0 w 115"/>
                <a:gd name="T31" fmla="*/ 86 h 154"/>
                <a:gd name="T32" fmla="*/ 0 w 115"/>
                <a:gd name="T33" fmla="*/ 109 h 154"/>
                <a:gd name="T34" fmla="*/ 24 w 115"/>
                <a:gd name="T35" fmla="*/ 109 h 154"/>
                <a:gd name="T36" fmla="*/ 24 w 115"/>
                <a:gd name="T37" fmla="*/ 86 h 154"/>
                <a:gd name="T38" fmla="*/ 34 w 115"/>
                <a:gd name="T39" fmla="*/ 86 h 154"/>
                <a:gd name="T40" fmla="*/ 44 w 115"/>
                <a:gd name="T41" fmla="*/ 98 h 154"/>
                <a:gd name="T42" fmla="*/ 88 w 115"/>
                <a:gd name="T43" fmla="*/ 154 h 154"/>
                <a:gd name="T44" fmla="*/ 115 w 115"/>
                <a:gd name="T45" fmla="*/ 154 h 154"/>
                <a:gd name="T46" fmla="*/ 53 w 115"/>
                <a:gd name="T47" fmla="*/ 7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5" h="154">
                  <a:moveTo>
                    <a:pt x="53" y="75"/>
                  </a:moveTo>
                  <a:lnTo>
                    <a:pt x="115" y="0"/>
                  </a:lnTo>
                  <a:lnTo>
                    <a:pt x="86" y="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3" y="64"/>
                  </a:lnTo>
                  <a:lnTo>
                    <a:pt x="24" y="64"/>
                  </a:lnTo>
                  <a:lnTo>
                    <a:pt x="24" y="51"/>
                  </a:lnTo>
                  <a:lnTo>
                    <a:pt x="24" y="19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51"/>
                  </a:lnTo>
                  <a:lnTo>
                    <a:pt x="0" y="64"/>
                  </a:lnTo>
                  <a:lnTo>
                    <a:pt x="0" y="86"/>
                  </a:lnTo>
                  <a:lnTo>
                    <a:pt x="0" y="109"/>
                  </a:lnTo>
                  <a:lnTo>
                    <a:pt x="24" y="109"/>
                  </a:lnTo>
                  <a:lnTo>
                    <a:pt x="24" y="86"/>
                  </a:lnTo>
                  <a:lnTo>
                    <a:pt x="34" y="86"/>
                  </a:lnTo>
                  <a:lnTo>
                    <a:pt x="44" y="98"/>
                  </a:lnTo>
                  <a:lnTo>
                    <a:pt x="88" y="154"/>
                  </a:lnTo>
                  <a:lnTo>
                    <a:pt x="115" y="154"/>
                  </a:lnTo>
                  <a:lnTo>
                    <a:pt x="53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304803"/>
              <a:endParaRPr lang="en-IN" sz="1760">
                <a:solidFill>
                  <a:srgbClr val="000000"/>
                </a:solidFill>
              </a:endParaRPr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0ABD8C8-DA77-4033-9AF1-7EBB5B37E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613" y="496888"/>
              <a:ext cx="44450" cy="42863"/>
            </a:xfrm>
            <a:custGeom>
              <a:avLst/>
              <a:gdLst>
                <a:gd name="T0" fmla="*/ 73 w 119"/>
                <a:gd name="T1" fmla="*/ 4 h 114"/>
                <a:gd name="T2" fmla="*/ 30 w 119"/>
                <a:gd name="T3" fmla="*/ 9 h 114"/>
                <a:gd name="T4" fmla="*/ 4 w 119"/>
                <a:gd name="T5" fmla="*/ 43 h 114"/>
                <a:gd name="T6" fmla="*/ 9 w 119"/>
                <a:gd name="T7" fmla="*/ 85 h 114"/>
                <a:gd name="T8" fmla="*/ 43 w 119"/>
                <a:gd name="T9" fmla="*/ 112 h 114"/>
                <a:gd name="T10" fmla="*/ 57 w 119"/>
                <a:gd name="T11" fmla="*/ 114 h 114"/>
                <a:gd name="T12" fmla="*/ 111 w 119"/>
                <a:gd name="T13" fmla="*/ 73 h 114"/>
                <a:gd name="T14" fmla="*/ 73 w 119"/>
                <a:gd name="T15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114">
                  <a:moveTo>
                    <a:pt x="73" y="4"/>
                  </a:moveTo>
                  <a:cubicBezTo>
                    <a:pt x="59" y="0"/>
                    <a:pt x="44" y="2"/>
                    <a:pt x="30" y="9"/>
                  </a:cubicBezTo>
                  <a:cubicBezTo>
                    <a:pt x="17" y="17"/>
                    <a:pt x="8" y="29"/>
                    <a:pt x="4" y="43"/>
                  </a:cubicBezTo>
                  <a:cubicBezTo>
                    <a:pt x="0" y="57"/>
                    <a:pt x="1" y="72"/>
                    <a:pt x="9" y="85"/>
                  </a:cubicBezTo>
                  <a:cubicBezTo>
                    <a:pt x="16" y="98"/>
                    <a:pt x="28" y="107"/>
                    <a:pt x="43" y="112"/>
                  </a:cubicBezTo>
                  <a:cubicBezTo>
                    <a:pt x="48" y="113"/>
                    <a:pt x="52" y="114"/>
                    <a:pt x="57" y="114"/>
                  </a:cubicBezTo>
                  <a:cubicBezTo>
                    <a:pt x="81" y="114"/>
                    <a:pt x="104" y="97"/>
                    <a:pt x="111" y="73"/>
                  </a:cubicBezTo>
                  <a:cubicBezTo>
                    <a:pt x="119" y="44"/>
                    <a:pt x="102" y="12"/>
                    <a:pt x="73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304803"/>
              <a:endParaRPr lang="en-IN" sz="1760">
                <a:solidFill>
                  <a:srgbClr val="000000"/>
                </a:solidFill>
              </a:endParaRPr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87159288-A5ED-4305-8773-CBBE6AB13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88" y="703263"/>
              <a:ext cx="42863" cy="42863"/>
            </a:xfrm>
            <a:custGeom>
              <a:avLst/>
              <a:gdLst>
                <a:gd name="T0" fmla="*/ 74 w 115"/>
                <a:gd name="T1" fmla="*/ 4 h 114"/>
                <a:gd name="T2" fmla="*/ 31 w 115"/>
                <a:gd name="T3" fmla="*/ 9 h 114"/>
                <a:gd name="T4" fmla="*/ 4 w 115"/>
                <a:gd name="T5" fmla="*/ 43 h 114"/>
                <a:gd name="T6" fmla="*/ 9 w 115"/>
                <a:gd name="T7" fmla="*/ 85 h 114"/>
                <a:gd name="T8" fmla="*/ 43 w 115"/>
                <a:gd name="T9" fmla="*/ 112 h 114"/>
                <a:gd name="T10" fmla="*/ 58 w 115"/>
                <a:gd name="T11" fmla="*/ 114 h 114"/>
                <a:gd name="T12" fmla="*/ 111 w 115"/>
                <a:gd name="T13" fmla="*/ 74 h 114"/>
                <a:gd name="T14" fmla="*/ 106 w 115"/>
                <a:gd name="T15" fmla="*/ 31 h 114"/>
                <a:gd name="T16" fmla="*/ 74 w 115"/>
                <a:gd name="T17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14">
                  <a:moveTo>
                    <a:pt x="74" y="4"/>
                  </a:moveTo>
                  <a:cubicBezTo>
                    <a:pt x="59" y="0"/>
                    <a:pt x="44" y="2"/>
                    <a:pt x="31" y="9"/>
                  </a:cubicBezTo>
                  <a:cubicBezTo>
                    <a:pt x="18" y="17"/>
                    <a:pt x="8" y="29"/>
                    <a:pt x="4" y="43"/>
                  </a:cubicBezTo>
                  <a:cubicBezTo>
                    <a:pt x="0" y="57"/>
                    <a:pt x="2" y="72"/>
                    <a:pt x="9" y="85"/>
                  </a:cubicBezTo>
                  <a:cubicBezTo>
                    <a:pt x="17" y="98"/>
                    <a:pt x="29" y="108"/>
                    <a:pt x="43" y="112"/>
                  </a:cubicBezTo>
                  <a:cubicBezTo>
                    <a:pt x="48" y="113"/>
                    <a:pt x="53" y="114"/>
                    <a:pt x="58" y="114"/>
                  </a:cubicBezTo>
                  <a:cubicBezTo>
                    <a:pt x="82" y="114"/>
                    <a:pt x="105" y="98"/>
                    <a:pt x="111" y="74"/>
                  </a:cubicBezTo>
                  <a:cubicBezTo>
                    <a:pt x="115" y="59"/>
                    <a:pt x="114" y="44"/>
                    <a:pt x="106" y="31"/>
                  </a:cubicBezTo>
                  <a:cubicBezTo>
                    <a:pt x="99" y="18"/>
                    <a:pt x="88" y="8"/>
                    <a:pt x="74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304803"/>
              <a:endParaRPr lang="en-IN" sz="176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038283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whit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331D50D-30CF-4EDE-AAD6-F27CA1FDE9C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EB0A0A3-CCB9-4814-8DA4-4E01BFFEE1EE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B98D741-86A0-4952-A3ED-78E843F23CF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8A9C1A8-0BFC-4236-A720-3456710C7F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431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whit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_whit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solidFill>
                  <a:srgbClr val="FFFFFF"/>
                </a:solidFill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32AF60-FE79-46A0-BC71-D44F0EA48E3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4B7A8E6-1C63-44B4-8066-296397417615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29E755B-56DD-462B-ABE5-CF5CC16BEF0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8BE4BA5-BC2D-41C2-86C7-5365F2F9A5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847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background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60" y="515463"/>
            <a:ext cx="11117083" cy="784510"/>
          </a:xfrm>
        </p:spPr>
        <p:txBody>
          <a:bodyPr/>
          <a:lstStyle>
            <a:lvl1pPr>
              <a:defRPr sz="4498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C7AD3A-599B-4013-9C13-39954DC1600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DFD16AD-2410-44D5-9322-EF6E83F69F3E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C8C8EB2-9FA7-41E0-9ED8-5393479C4C2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BEF155E-4AF5-46F2-9B1D-1AA8A27811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789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ottom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bottom"/>
          <p:cNvSpPr>
            <a:spLocks noGrp="1"/>
          </p:cNvSpPr>
          <p:nvPr>
            <p:ph type="title"/>
          </p:nvPr>
        </p:nvSpPr>
        <p:spPr>
          <a:xfrm>
            <a:off x="537460" y="4376268"/>
            <a:ext cx="11117083" cy="784510"/>
          </a:xfrm>
        </p:spPr>
        <p:txBody>
          <a:bodyPr/>
          <a:lstStyle>
            <a:lvl1pPr>
              <a:defRPr sz="4498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0820E8D-C14D-4C0B-BD6B-8F88D7BAADE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7153D2F-9CFD-44D8-8D62-108FB17617AD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74A7328-CA38-4B1B-B573-1B0774D3AC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DFC39A8-2928-4641-814D-B19F9B6E95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4760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nter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60" y="2242486"/>
            <a:ext cx="11117083" cy="784510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498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F97BB7-0400-4F5F-B75B-E08643B21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6B6E588-E997-468A-B060-4C27BC65183A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FEF71E9-F7CE-4E64-AEEB-C5CAA1C4C9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06FA90-FF74-470B-B12B-CCFE0A47C26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701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midd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60" y="3002881"/>
            <a:ext cx="11117083" cy="784510"/>
          </a:xfrm>
        </p:spPr>
        <p:txBody>
          <a:bodyPr anchor="ctr" anchorCtr="0"/>
          <a:lstStyle>
            <a:lvl1pPr algn="ctr">
              <a:lnSpc>
                <a:spcPct val="100000"/>
              </a:lnSpc>
              <a:defRPr sz="4498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FF18A5-09F4-47C1-A4BD-EC66B9E1685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6406F3BD-DB67-4684-9CAE-0B464D5382AD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EBA99D-F27E-46D4-86A6-1803583B424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8AA439-BB0B-4BC6-A160-9D3AE0EBCD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65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nter with background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60" y="1188802"/>
            <a:ext cx="11117083" cy="784510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498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87D3ED-8D67-4329-961D-BAFB628883A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BD52994-168F-4B18-B4BC-AD2D6A4B491A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8796849-6AD9-46A1-9917-550D61FDBEE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89D0C9D-FFF7-4329-BDB4-01B62B2341A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4852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nter with background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60" y="1843563"/>
            <a:ext cx="11117083" cy="784510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498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E65079B-A7F3-4458-8D93-E8D810E9878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639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whit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331D50D-30CF-4EDE-AAD6-F27CA1FDE9C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EB0A0A3-CCB9-4814-8DA4-4E01BFFEE1EE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B98D741-86A0-4952-A3ED-78E843F23CF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8A9C1A8-0BFC-4236-A720-3456710C7F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5165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60" y="3001962"/>
            <a:ext cx="11117083" cy="1852943"/>
          </a:xfrm>
        </p:spPr>
        <p:txBody>
          <a:bodyPr anchor="t" anchorCtr="0"/>
          <a:lstStyle>
            <a:lvl1pPr algn="ctr">
              <a:lnSpc>
                <a:spcPct val="90000"/>
              </a:lnSpc>
              <a:defRPr sz="6356" b="0" spc="0" baseline="0">
                <a:solidFill>
                  <a:srgbClr val="FFFFFF"/>
                </a:solidFill>
                <a:latin typeface="Work Sans Medium" panose="020B0706030804020204" pitchFamily="34" charset="0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3201FB-FE53-4F0B-8FDF-C2DEEA8F96B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62DF8EC9-7BA4-4362-A2AD-9ECE08B7FE11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420328C-B50E-4E5B-A023-F1DFCF9F6B1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CCC5429-3FEC-4B5F-A188-C895E743664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0568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 backgrou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5" y="0"/>
            <a:ext cx="584077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04751" y="2817264"/>
            <a:ext cx="5245824" cy="5738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3D586E-F233-48FE-A780-BB4D0BED11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6898" y="4383089"/>
            <a:ext cx="5243679" cy="367816"/>
          </a:xfrm>
        </p:spPr>
        <p:txBody>
          <a:bodyPr/>
          <a:lstStyle>
            <a:lvl1pPr marL="0" indent="0">
              <a:buNone/>
              <a:defRPr/>
            </a:lvl1pPr>
            <a:lvl2pPr marL="260781" indent="0">
              <a:buNone/>
              <a:defRPr/>
            </a:lvl2pPr>
            <a:lvl3pPr marL="894109" indent="0">
              <a:buNone/>
              <a:defRPr/>
            </a:lvl3pPr>
            <a:lvl4pPr marL="1341165" indent="0">
              <a:buNone/>
              <a:defRPr/>
            </a:lvl4pPr>
            <a:lvl5pPr marL="1788218" indent="0">
              <a:buNone/>
              <a:defRPr/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BDFC6F-3286-4A3D-A782-EF139340A1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752" y="464696"/>
            <a:ext cx="1727322" cy="49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11769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&amp; half backgrou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37461" y="426426"/>
            <a:ext cx="5245824" cy="5738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5" y="0"/>
            <a:ext cx="584077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4" hasCustomPrompt="1"/>
          </p:nvPr>
        </p:nvSpPr>
        <p:spPr>
          <a:xfrm>
            <a:off x="536402" y="1023733"/>
            <a:ext cx="5258610" cy="4841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78926341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 backgroun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84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896ED2-8998-45EC-B37F-E645AEBA4D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50000" y="2454275"/>
            <a:ext cx="5238750" cy="2236788"/>
          </a:xfrm>
        </p:spPr>
        <p:txBody>
          <a:bodyPr>
            <a:noAutofit/>
          </a:bodyPr>
          <a:lstStyle>
            <a:lvl1pPr marL="0" indent="0" algn="l" defTabSz="8941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129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60781" indent="0" algn="l" defTabSz="8941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129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894109" indent="0" algn="l" defTabSz="8941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129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41165" indent="0" algn="l" defTabSz="8941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129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788218" indent="0" algn="l" defTabSz="8941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IN" sz="3129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716098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&amp; half backgroun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991678"/>
            <a:ext cx="12192000" cy="38663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988EB7-C821-4EEA-B8AF-13B106E73F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7420" y="436121"/>
            <a:ext cx="1727322" cy="497469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896ED2-8998-45EC-B37F-E645AEBA4D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7261" y="341736"/>
            <a:ext cx="8638209" cy="1223460"/>
          </a:xfrm>
        </p:spPr>
        <p:txBody>
          <a:bodyPr>
            <a:noAutofit/>
          </a:bodyPr>
          <a:lstStyle>
            <a:lvl1pPr marL="0" indent="0" algn="l" defTabSz="8941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129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60781" indent="0" algn="l" defTabSz="8941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129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894109" indent="0" algn="l" defTabSz="8941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129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41165" indent="0" algn="l" defTabSz="8941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129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788218" indent="0" algn="l" defTabSz="8941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IN" sz="3129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4864617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&amp; half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51225" y="0"/>
            <a:ext cx="5840777" cy="6858000"/>
          </a:xfrm>
          <a:prstGeom prst="rect">
            <a:avLst/>
          </a:prstGeom>
          <a:solidFill>
            <a:schemeClr val="bg2"/>
          </a:solidFill>
          <a:ln w="0">
            <a:solidFill>
              <a:schemeClr val="bg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37461" y="505939"/>
            <a:ext cx="5245824" cy="600164"/>
          </a:xfrm>
        </p:spPr>
        <p:txBody>
          <a:bodyPr>
            <a:norm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2" y="925202"/>
            <a:ext cx="5258610" cy="4841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61F96C5-3350-41E7-9935-541D8E55CBF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33745DC-A92C-4A0F-B3FD-C0F6CF788EE0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DE194D9-0741-4E27-B3E3-BCC4A9F59B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91" y="6346190"/>
            <a:ext cx="761937" cy="219438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6849D2A-A30B-4356-922F-72CA51FACC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3550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863600" y="1673955"/>
            <a:ext cx="4978400" cy="43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572956" y="1673955"/>
            <a:ext cx="4978400" cy="43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4DD618-DA0C-4B98-A734-B2100C4DE3F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907078C-F32E-4ECB-B169-B11CE0F45842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04669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 p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397000" y="1485900"/>
            <a:ext cx="6299200" cy="382905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587500" y="1803390"/>
            <a:ext cx="5922963" cy="3335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651354" y="1585913"/>
            <a:ext cx="3038476" cy="1838325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743600" y="1738315"/>
            <a:ext cx="2858400" cy="15954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651354" y="3381377"/>
            <a:ext cx="3038476" cy="1838325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7743600" y="3533777"/>
            <a:ext cx="2858400" cy="15954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5B1FEBC-DBE4-46E4-85A5-7821E881193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7498B25-32CE-4509-85BD-20E773D7796A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58956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456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3708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8212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889A59-B598-4605-94C7-790118509E9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2CCC8A0-FB94-419F-B453-3518575B4D33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22594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859632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15544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571456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9427368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859632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3715544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8"/>
          </p:nvPr>
        </p:nvSpPr>
        <p:spPr>
          <a:xfrm>
            <a:off x="6571456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9427368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21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2649D5E-F6D0-4AA0-9127-CE8B8D68317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0E041046-454C-4C55-88A2-B96D334CFACF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6526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whit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_whit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rgbClr val="FFFFFF"/>
                </a:solidFill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32AF60-FE79-46A0-BC71-D44F0EA48E3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4B7A8E6-1C63-44B4-8066-296397417615}" type="datetime1">
              <a:rPr lang="en-US" smtClean="0"/>
              <a:t>10/17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29E755B-56DD-462B-ABE5-CF5CC16BEF0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8BE4BA5-BC2D-41C2-86C7-5365F2F9A5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670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614988" y="1671637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2762727" y="2785586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477726" y="2785586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92575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0159662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075194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442281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36DA9F-7CE5-43B5-8F53-462D33E0516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3034C41-2792-400F-AFB6-C4700EF5989D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48957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45600" y="1678733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4454268" y="1678733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0"/>
          </p:nvPr>
        </p:nvSpPr>
        <p:spPr>
          <a:xfrm>
            <a:off x="8262936" y="1678733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endParaRPr lang="en-US"/>
          </a:p>
        </p:txBody>
      </p:sp>
      <p:sp>
        <p:nvSpPr>
          <p:cNvPr id="9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FAFC74-5FD3-4865-8C40-97BD719CA799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77EDC609-7CDE-4442-BFAF-F1FC3806566D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6577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6EF514-C482-4232-A3C4-2A64B27FDA7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CAB8B46-D6E8-4C63-8CCC-B18863FF8C47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97041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F54AED-ADE0-4FD9-A927-39235D4125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A53B7BF-463C-4115-B51B-0FDA8C66D59A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65816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anv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33414" y="1679973"/>
            <a:ext cx="2147365" cy="2771775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849565" y="1679972"/>
            <a:ext cx="2122487" cy="1355328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849565" y="3096419"/>
            <a:ext cx="2122487" cy="1355328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040837" y="1679973"/>
            <a:ext cx="2109265" cy="2771775"/>
          </a:xfrm>
          <a:prstGeom prst="rect">
            <a:avLst/>
          </a:prstGeom>
          <a:solidFill>
            <a:schemeClr val="accent2"/>
          </a:solidFill>
          <a:ln w="0">
            <a:solidFill>
              <a:schemeClr val="accent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7218887" y="1679972"/>
            <a:ext cx="2122487" cy="1355328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7218887" y="3096419"/>
            <a:ext cx="2122487" cy="1355328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9412282" y="1679973"/>
            <a:ext cx="2147365" cy="2771775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633415" y="4514867"/>
            <a:ext cx="5430837" cy="1521985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6128810" y="4514867"/>
            <a:ext cx="5430837" cy="1521985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BEC102-29F4-44F4-9717-4F55C36451D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AC95F3A-685B-4F3B-A8C2-83185F1A43F8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15776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er &amp;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42516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Title_center_white"/>
          <p:cNvSpPr>
            <a:spLocks noGrp="1"/>
          </p:cNvSpPr>
          <p:nvPr>
            <p:ph type="title"/>
          </p:nvPr>
        </p:nvSpPr>
        <p:spPr>
          <a:xfrm>
            <a:off x="537460" y="1393077"/>
            <a:ext cx="11117083" cy="854080"/>
          </a:xfrm>
        </p:spPr>
        <p:txBody>
          <a:bodyPr/>
          <a:lstStyle>
            <a:lvl1pPr algn="ctr">
              <a:lnSpc>
                <a:spcPct val="90000"/>
              </a:lnSpc>
              <a:defRPr sz="5378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9EAB10-2A06-46DB-9D61-651C4714BC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52CD7EE-76B7-4AEB-8F2E-967E14F1AE03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19805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12192000" cy="425132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6" name="Title_white"/>
          <p:cNvSpPr>
            <a:spLocks noGrp="1"/>
          </p:cNvSpPr>
          <p:nvPr>
            <p:ph type="title"/>
          </p:nvPr>
        </p:nvSpPr>
        <p:spPr>
          <a:xfrm>
            <a:off x="537460" y="507601"/>
            <a:ext cx="11117083" cy="57387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_white"/>
          <p:cNvSpPr>
            <a:spLocks noGrp="1"/>
          </p:cNvSpPr>
          <p:nvPr>
            <p:ph type="body" sz="quarter" idx="14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solidFill>
                  <a:srgbClr val="FFFFFF"/>
                </a:solidFill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E8390B-E553-4AFB-9D02-3A91A917F16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43CF453-BAE3-4EEA-8076-C882B98A29AA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68178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4251960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_bottom"/>
          <p:cNvSpPr>
            <a:spLocks noGrp="1"/>
          </p:cNvSpPr>
          <p:nvPr>
            <p:ph type="title"/>
          </p:nvPr>
        </p:nvSpPr>
        <p:spPr>
          <a:xfrm>
            <a:off x="447288" y="4702149"/>
            <a:ext cx="3555570" cy="1047752"/>
          </a:xfrm>
        </p:spPr>
        <p:txBody>
          <a:bodyPr/>
          <a:lstStyle>
            <a:lvl1pPr algn="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7AD4B0-74D8-4A99-8D65-643E71AF4BF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861F58-9F2F-409A-8550-2802A028BFA2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182BAD-05B8-4986-BB17-A1EEBE504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7CC83B-39BF-444E-9F0E-05AF20B460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75755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ttom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bottom"/>
          <p:cNvSpPr>
            <a:spLocks noGrp="1"/>
          </p:cNvSpPr>
          <p:nvPr>
            <p:ph type="title"/>
          </p:nvPr>
        </p:nvSpPr>
        <p:spPr>
          <a:xfrm>
            <a:off x="447288" y="4702149"/>
            <a:ext cx="3555570" cy="1047752"/>
          </a:xfrm>
        </p:spPr>
        <p:txBody>
          <a:bodyPr/>
          <a:lstStyle>
            <a:lvl1pPr algn="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6" name="Media Placeholder 5"/>
          <p:cNvSpPr>
            <a:spLocks noGrp="1"/>
          </p:cNvSpPr>
          <p:nvPr>
            <p:ph type="media" sz="quarter" idx="12"/>
          </p:nvPr>
        </p:nvSpPr>
        <p:spPr>
          <a:xfrm>
            <a:off x="0" y="2"/>
            <a:ext cx="12192000" cy="425132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B36426-6EC5-4026-9861-2E3B511F9B3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A64012-C6E2-4CA3-AD1B-B2EAAB68F2A8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983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 backgroun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6249771" y="507601"/>
            <a:ext cx="5245824" cy="5738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C285DA-4081-47B1-9802-35DB6744DC1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471CB8E-9AE9-46F1-B68E-24910AB99241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D09ACD-7F31-45B9-830E-CB35153DEB8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1" y="6323715"/>
            <a:ext cx="4807125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AD63F7-AFCC-49EC-A106-B67FD146536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8250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background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59" y="515463"/>
            <a:ext cx="11117083" cy="800219"/>
          </a:xfrm>
        </p:spPr>
        <p:txBody>
          <a:bodyPr/>
          <a:lstStyle>
            <a:lvl1pPr>
              <a:defRPr sz="46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C7AD3A-599B-4013-9C13-39954DC1600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DFD16AD-2410-44D5-9322-EF6E83F69F3E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C8C8EB2-9FA7-41E0-9ED8-5393479C4C2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BEF155E-4AF5-46F2-9B1D-1AA8A27811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640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&amp; half backgroun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6249771" y="507601"/>
            <a:ext cx="5245824" cy="5738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Subtitle_half_right"/>
          <p:cNvSpPr>
            <a:spLocks noGrp="1"/>
          </p:cNvSpPr>
          <p:nvPr>
            <p:ph type="body" sz="quarter" idx="14" hasCustomPrompt="1"/>
          </p:nvPr>
        </p:nvSpPr>
        <p:spPr>
          <a:xfrm>
            <a:off x="6251402" y="925202"/>
            <a:ext cx="5258610" cy="4841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4B8A11-8D61-4C4F-97A4-733042DD642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8468473-55A5-4C48-8D7D-CB4B5992D163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992617-E2A3-4D69-A3DF-8DF4D293841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5"/>
            <a:ext cx="485475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54BCE30-C810-4694-95AD-55DD5391E41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85981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61" y="507601"/>
            <a:ext cx="10958541" cy="5738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931000" y="1540802"/>
            <a:ext cx="2790000" cy="471450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44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141000" y="1539002"/>
            <a:ext cx="2790000" cy="471450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65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7356000" y="1211170"/>
            <a:ext cx="3150000" cy="532283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7931599" y="2217364"/>
            <a:ext cx="1998806" cy="33104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3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9DEF6B-1CDC-48FB-B2FA-212E8F433ED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20CC094-50AD-4476-9B55-89B7F6FB9B02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88906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146000" y="13608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5610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926000" y="13608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53460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8751000" y="13608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91692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Subtitle"/>
          <p:cNvSpPr>
            <a:spLocks noGrp="1"/>
          </p:cNvSpPr>
          <p:nvPr>
            <p:ph type="body" sz="quarter" idx="31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683D3-6885-4096-8122-8A581B751BBE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CB53772D-2D54-498A-BAA7-7AA0E983E49F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16160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651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106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3441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85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6366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1" name="Picture Placeholder 8"/>
          <p:cNvSpPr>
            <a:spLocks noGrp="1"/>
          </p:cNvSpPr>
          <p:nvPr>
            <p:ph type="pic" sz="quarter" idx="32"/>
          </p:nvPr>
        </p:nvSpPr>
        <p:spPr>
          <a:xfrm>
            <a:off x="6781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9291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3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970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504560-DEDE-4304-8564-D6CFB1921300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fld id="{001B6360-DAB2-49A6-82CB-CA3E3B30CE88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03363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836000" y="1269002"/>
            <a:ext cx="2520000" cy="4469021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5299200" y="2124000"/>
            <a:ext cx="1598400" cy="279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99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65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7626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32"/>
          </p:nvPr>
        </p:nvSpPr>
        <p:spPr>
          <a:xfrm>
            <a:off x="992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56E03B-D1A3-49D7-BDA2-2B1C473B90CE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96AD6E60-74C5-4EB7-8E6B-C46A5E42E562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23512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441000" y="1224000"/>
            <a:ext cx="3015000" cy="526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3985348" y="2217600"/>
            <a:ext cx="1926309" cy="329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736000" y="1224000"/>
            <a:ext cx="3015000" cy="526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280348" y="2217600"/>
            <a:ext cx="1926309" cy="329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A95F-2646-46AB-92A0-FCDE59F0AF6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D17F44-06A8-423E-B0DF-AFA9D3366319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4144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e App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874400" y="1134000"/>
            <a:ext cx="2559600" cy="4510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3CBC50C-C444-4B7B-9C48-B452761CAA3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5C93C6-E7CF-46D2-BD0F-E93EF82A5A90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E89BFC-ADBE-4018-AB63-D218070638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390225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3B3D78-2787-4EF7-B776-7FA4318D148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73784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e App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00" y="0"/>
            <a:ext cx="5842000" cy="6858000"/>
          </a:xfrm>
          <a:prstGeom prst="rect">
            <a:avLst/>
          </a:prstGeom>
        </p:spPr>
      </p:pic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287200" y="1134000"/>
            <a:ext cx="2347200" cy="418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61" y="507601"/>
            <a:ext cx="5468541" cy="5738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2" y="925202"/>
            <a:ext cx="5487209" cy="4841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E4D9D2-73BE-48E3-A286-419A1A9E7E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91" y="6346190"/>
            <a:ext cx="761937" cy="219438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8CC9B5-0496-45A8-A223-C6F5B3064F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26D462-3FA9-4B2E-87C6-3FF170DC516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80A4E95-8AA0-4749-BAB0-3AEE5DC94FAB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5F73562-C31F-4EFD-92D8-787957F17CC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6350000" y="6323715"/>
            <a:ext cx="3662682" cy="24577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B2B0F2-80AA-46C0-832B-A7C809992C7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25156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665600" y="1249200"/>
            <a:ext cx="2862000" cy="5194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188194" y="2242800"/>
            <a:ext cx="1818000" cy="32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CDCFD83-29A0-4266-8E72-C7872FCA40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7817DA-7F33-424A-9E90-78F25CED767C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09974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4"/>
          </p:nvPr>
        </p:nvSpPr>
        <p:spPr>
          <a:xfrm>
            <a:off x="8438400" y="1242002"/>
            <a:ext cx="2721600" cy="4899763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940801" y="2185039"/>
            <a:ext cx="1721485" cy="3072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894000" y="1000800"/>
            <a:ext cx="2988000" cy="53856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439027" y="2028828"/>
            <a:ext cx="1898648" cy="3352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6"/>
          </p:nvPr>
        </p:nvSpPr>
        <p:spPr>
          <a:xfrm>
            <a:off x="6057900" y="4183927"/>
            <a:ext cx="2114550" cy="211498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8"/>
          <p:cNvSpPr>
            <a:spLocks noGrp="1" noChangeAspect="1"/>
          </p:cNvSpPr>
          <p:nvPr>
            <p:ph type="pic" sz="quarter" idx="17"/>
          </p:nvPr>
        </p:nvSpPr>
        <p:spPr>
          <a:xfrm>
            <a:off x="6393078" y="4519616"/>
            <a:ext cx="1444199" cy="1443600"/>
          </a:xfrm>
          <a:prstGeom prst="roundRect">
            <a:avLst>
              <a:gd name="adj" fmla="val 24561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4AD55B3-D661-491A-8908-26DA58DF016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9B6B086-10BF-4ABA-BA3B-5416C2840D66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6544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ottom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bottom"/>
          <p:cNvSpPr>
            <a:spLocks noGrp="1"/>
          </p:cNvSpPr>
          <p:nvPr>
            <p:ph type="title"/>
          </p:nvPr>
        </p:nvSpPr>
        <p:spPr>
          <a:xfrm>
            <a:off x="537459" y="4376268"/>
            <a:ext cx="11117083" cy="800219"/>
          </a:xfrm>
        </p:spPr>
        <p:txBody>
          <a:bodyPr/>
          <a:lstStyle>
            <a:lvl1pPr>
              <a:defRPr sz="46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0820E8D-C14D-4C0B-BD6B-8F88D7BAADE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7153D2F-9CFD-44D8-8D62-108FB17617AD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74A7328-CA38-4B1B-B573-1B0774D3AC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DFC39A8-2928-4641-814D-B19F9B6E95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1428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61" y="507601"/>
            <a:ext cx="6028441" cy="5738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8610600" y="442912"/>
            <a:ext cx="3489076" cy="5895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9246871" y="1569600"/>
            <a:ext cx="2214000" cy="367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565901" y="69851"/>
            <a:ext cx="3867785" cy="6535738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268400" y="1317600"/>
            <a:ext cx="2462400" cy="4071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Subtitle_half_left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2" y="925202"/>
            <a:ext cx="6035849" cy="4841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9BB3C1-F184-4624-957C-11069899683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B2CB752-83FD-4F61-B2E3-E5EB2B6936F8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00627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t App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8256000" cy="6858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61" y="507601"/>
            <a:ext cx="5468541" cy="5738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803000" y="604800"/>
            <a:ext cx="4233600" cy="568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8570699" y="1576373"/>
            <a:ext cx="2787605" cy="37502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770800" y="36000"/>
            <a:ext cx="4784400" cy="66312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20"/>
          </p:nvPr>
        </p:nvSpPr>
        <p:spPr>
          <a:xfrm>
            <a:off x="6541028" y="1169231"/>
            <a:ext cx="3249949" cy="43722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Subtitle_half_left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2" y="925202"/>
            <a:ext cx="5487209" cy="4841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EAD8AF-2D5F-41F9-A2CD-CC6CECFFB1B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76A19F56-A30B-407A-A2AB-BE2F7D94F3A8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172A04-22D3-430B-9A51-52297E6ACB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408CF4-5D69-473C-AD15-4EFAD292026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C21C60-F8F6-4713-9C3A-36A45EB422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91" y="6346190"/>
            <a:ext cx="761937" cy="219438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538131-5352-4760-982F-4CF68C1370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36307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42816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Ap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222800" y="1263600"/>
            <a:ext cx="3758400" cy="52092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825587" y="2152650"/>
            <a:ext cx="2553531" cy="3435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7459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CA4C63E-82B6-45AE-8E1B-5834946546C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04A4EF1-749B-41B1-BB3D-AC96E6E683ED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12836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t App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8256000" cy="6858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61" y="507601"/>
            <a:ext cx="5468541" cy="5738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5810400" y="43200"/>
            <a:ext cx="6382800" cy="658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7176000" y="909000"/>
            <a:ext cx="5016000" cy="48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Subtitle_half_left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2" y="925202"/>
            <a:ext cx="5487209" cy="4841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0B690F-AE10-4AC5-B742-38A87F78E8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91" y="6346190"/>
            <a:ext cx="761937" cy="219438"/>
          </a:xfrm>
          <a:prstGeom prst="rect">
            <a:avLst/>
          </a:prstGeom>
        </p:spPr>
      </p:pic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FF356AB-D0D8-4167-B117-3B8AB329EC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D6D8294-CB5D-48A3-AF81-4EA0BC6DBA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34B0AC7-6DD4-4855-9315-77D5E5906070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A0D8B-DB9A-446B-ABAF-4EB4825BAA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F990A2-3A3F-47BA-AA36-8341BD8C796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1796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44400" y="349200"/>
            <a:ext cx="6148800" cy="598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61" y="507601"/>
            <a:ext cx="6028441" cy="5738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493000" y="984250"/>
            <a:ext cx="4699000" cy="4578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2" y="925202"/>
            <a:ext cx="6058709" cy="4841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78EDBA-32D1-4CAD-B6F5-A12817AA145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B3AE02C-E262-41A2-B956-573B419E8D6F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67941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7200" y="1652400"/>
            <a:ext cx="7480800" cy="4384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435102" y="2120902"/>
            <a:ext cx="5340349" cy="3346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D71CA83-4C14-4F76-8A2E-4BC45FED97B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E107578-9F60-4EE0-8F1A-A10C9CEE32A0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71429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30400" y="1411200"/>
            <a:ext cx="7930800" cy="469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861051" y="1911350"/>
            <a:ext cx="5664200" cy="3581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AE8933-31AB-4E36-AA2D-4C3A1404976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F2A2A57-A134-4A67-B20D-8A6D6DCCA218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72182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&amp; Mob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30400" y="1411200"/>
            <a:ext cx="7930800" cy="469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861051" y="1911350"/>
            <a:ext cx="5664200" cy="3581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335780" y="1958400"/>
            <a:ext cx="2473200" cy="444960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786238" y="2800350"/>
            <a:ext cx="1576462" cy="2781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6F0666-F520-4269-B254-69D901F7443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F7869CE-968A-447D-A014-60B23ABD5026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39808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wse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184400" y="360000"/>
            <a:ext cx="9806400" cy="596265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473201" y="842965"/>
            <a:ext cx="9242425" cy="5195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A86E8-732D-41AD-8CBC-E4BE91507AC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C1B02AA-DA0A-4B28-BA6B-DE552E8A4D6E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07213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ws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574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782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52800" y="878400"/>
            <a:ext cx="5868000" cy="5364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6000" y="1359002"/>
            <a:ext cx="5377846" cy="4625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5940000" y="878400"/>
            <a:ext cx="5868000" cy="5364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6186000" y="1359002"/>
            <a:ext cx="5377846" cy="4625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610000" y="324000"/>
            <a:ext cx="7048800" cy="6022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902178" y="859537"/>
            <a:ext cx="6478822" cy="5195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F243B8-8FCB-438F-B4A9-64F98C1EE60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C4CB5AB-A68F-4409-8AE1-B729AEDB8D4E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397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nter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2242485"/>
            <a:ext cx="11117083" cy="800219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600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F97BB7-0400-4F5F-B75B-E08643B21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6B6E588-E997-468A-B060-4C27BC65183A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FEF71E9-F7CE-4E64-AEEB-C5CAA1C4C9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06FA90-FF74-470B-B12B-CCFE0A47C26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60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ws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>
                <a:solidFill>
                  <a:srgbClr val="622AD8"/>
                </a:solidFill>
              </a:rPr>
              <a:pPr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7900" y="1384300"/>
            <a:ext cx="5765800" cy="46863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357940" y="1943100"/>
            <a:ext cx="5186361" cy="3854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2" y="925202"/>
            <a:ext cx="11001375" cy="48417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47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85A0D-1399-471C-86C5-8E18B0508C2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FEE010B-D02B-4F12-AE1D-89F6CEFD56FE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116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Ope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838D46C-1FA0-4C20-A3A5-A71F44DAB3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60" y="2404367"/>
            <a:ext cx="11117083" cy="694357"/>
          </a:xfrm>
        </p:spPr>
        <p:txBody>
          <a:bodyPr/>
          <a:lstStyle>
            <a:lvl1pPr>
              <a:defRPr sz="3912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47049" y="1840813"/>
            <a:ext cx="1681854" cy="366502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96406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0" y="6558265"/>
            <a:ext cx="12192000" cy="299736"/>
          </a:xfrm>
          <a:prstGeom prst="rect">
            <a:avLst/>
          </a:prstGeom>
          <a:solidFill>
            <a:srgbClr val="D7D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4803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" y="0"/>
            <a:ext cx="12191999" cy="96982"/>
            <a:chOff x="1" y="9507263"/>
            <a:chExt cx="18287999" cy="551137"/>
          </a:xfrm>
        </p:grpSpPr>
        <p:sp>
          <p:nvSpPr>
            <p:cNvPr id="10" name="object 86"/>
            <p:cNvSpPr/>
            <p:nvPr/>
          </p:nvSpPr>
          <p:spPr>
            <a:xfrm>
              <a:off x="7668406" y="9507263"/>
              <a:ext cx="2472570" cy="551137"/>
            </a:xfrm>
            <a:custGeom>
              <a:avLst/>
              <a:gdLst/>
              <a:ahLst/>
              <a:cxnLst/>
              <a:rect l="l" t="t" r="r" b="b"/>
              <a:pathLst>
                <a:path w="1236285" h="400827">
                  <a:moveTo>
                    <a:pt x="1124692" y="0"/>
                  </a:moveTo>
                  <a:lnTo>
                    <a:pt x="0" y="0"/>
                  </a:lnTo>
                  <a:lnTo>
                    <a:pt x="177297" y="400827"/>
                  </a:lnTo>
                  <a:lnTo>
                    <a:pt x="1236285" y="400827"/>
                  </a:lnTo>
                  <a:lnTo>
                    <a:pt x="1124692" y="0"/>
                  </a:lnTo>
                  <a:close/>
                </a:path>
              </a:pathLst>
            </a:custGeom>
            <a:solidFill>
              <a:srgbClr val="56AED9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304803"/>
              <a:endParaRPr sz="1467">
                <a:solidFill>
                  <a:srgbClr val="161718"/>
                </a:solidFill>
              </a:endParaRPr>
            </a:p>
          </p:txBody>
        </p:sp>
        <p:sp>
          <p:nvSpPr>
            <p:cNvPr id="11" name="object 87"/>
            <p:cNvSpPr/>
            <p:nvPr/>
          </p:nvSpPr>
          <p:spPr>
            <a:xfrm>
              <a:off x="7718387" y="9507263"/>
              <a:ext cx="644660" cy="551137"/>
            </a:xfrm>
            <a:custGeom>
              <a:avLst/>
              <a:gdLst/>
              <a:ahLst/>
              <a:cxnLst/>
              <a:rect l="l" t="t" r="r" b="b"/>
              <a:pathLst>
                <a:path w="322330" h="400827">
                  <a:moveTo>
                    <a:pt x="144576" y="0"/>
                  </a:moveTo>
                  <a:lnTo>
                    <a:pt x="0" y="0"/>
                  </a:lnTo>
                  <a:lnTo>
                    <a:pt x="212014" y="400827"/>
                  </a:lnTo>
                  <a:lnTo>
                    <a:pt x="322330" y="400827"/>
                  </a:lnTo>
                  <a:lnTo>
                    <a:pt x="185226" y="90096"/>
                  </a:lnTo>
                  <a:lnTo>
                    <a:pt x="182133" y="83169"/>
                  </a:lnTo>
                  <a:lnTo>
                    <a:pt x="144576" y="0"/>
                  </a:lnTo>
                  <a:close/>
                </a:path>
              </a:pathLst>
            </a:custGeom>
            <a:solidFill>
              <a:srgbClr val="999999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304803"/>
              <a:endParaRPr sz="1467">
                <a:solidFill>
                  <a:srgbClr val="161718"/>
                </a:solidFill>
              </a:endParaRPr>
            </a:p>
          </p:txBody>
        </p:sp>
        <p:sp>
          <p:nvSpPr>
            <p:cNvPr id="12" name="object 88"/>
            <p:cNvSpPr/>
            <p:nvPr/>
          </p:nvSpPr>
          <p:spPr>
            <a:xfrm>
              <a:off x="56337" y="9507263"/>
              <a:ext cx="4305308" cy="551137"/>
            </a:xfrm>
            <a:custGeom>
              <a:avLst/>
              <a:gdLst/>
              <a:ahLst/>
              <a:cxnLst/>
              <a:rect l="l" t="t" r="r" b="b"/>
              <a:pathLst>
                <a:path w="2152654" h="400827">
                  <a:moveTo>
                    <a:pt x="2152654" y="0"/>
                  </a:moveTo>
                  <a:lnTo>
                    <a:pt x="147951" y="0"/>
                  </a:lnTo>
                  <a:lnTo>
                    <a:pt x="147707" y="611"/>
                  </a:lnTo>
                  <a:lnTo>
                    <a:pt x="0" y="400827"/>
                  </a:lnTo>
                  <a:lnTo>
                    <a:pt x="1368957" y="400827"/>
                  </a:lnTo>
                  <a:lnTo>
                    <a:pt x="2152654" y="0"/>
                  </a:lnTo>
                  <a:close/>
                </a:path>
              </a:pathLst>
            </a:custGeom>
            <a:solidFill>
              <a:srgbClr val="D7DF23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304803"/>
              <a:endParaRPr sz="1467">
                <a:solidFill>
                  <a:srgbClr val="161718"/>
                </a:solidFill>
              </a:endParaRPr>
            </a:p>
          </p:txBody>
        </p:sp>
        <p:sp>
          <p:nvSpPr>
            <p:cNvPr id="13" name="object 89"/>
            <p:cNvSpPr/>
            <p:nvPr/>
          </p:nvSpPr>
          <p:spPr>
            <a:xfrm>
              <a:off x="1" y="9507263"/>
              <a:ext cx="352273" cy="551137"/>
            </a:xfrm>
            <a:custGeom>
              <a:avLst/>
              <a:gdLst/>
              <a:ahLst/>
              <a:cxnLst/>
              <a:rect l="l" t="t" r="r" b="b"/>
              <a:pathLst>
                <a:path w="176136" h="400827">
                  <a:moveTo>
                    <a:pt x="176136" y="0"/>
                  </a:moveTo>
                  <a:lnTo>
                    <a:pt x="0" y="0"/>
                  </a:lnTo>
                  <a:lnTo>
                    <a:pt x="0" y="400827"/>
                  </a:lnTo>
                  <a:lnTo>
                    <a:pt x="28110" y="400827"/>
                  </a:lnTo>
                  <a:lnTo>
                    <a:pt x="173908" y="5507"/>
                  </a:lnTo>
                  <a:lnTo>
                    <a:pt x="176136" y="0"/>
                  </a:lnTo>
                  <a:close/>
                </a:path>
              </a:pathLst>
            </a:custGeom>
            <a:solidFill>
              <a:srgbClr val="BAC21F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304803"/>
              <a:endParaRPr sz="1467">
                <a:solidFill>
                  <a:srgbClr val="161718"/>
                </a:solidFill>
              </a:endParaRPr>
            </a:p>
          </p:txBody>
        </p:sp>
        <p:sp>
          <p:nvSpPr>
            <p:cNvPr id="14" name="object 90"/>
            <p:cNvSpPr/>
            <p:nvPr/>
          </p:nvSpPr>
          <p:spPr>
            <a:xfrm>
              <a:off x="2791832" y="9507263"/>
              <a:ext cx="4180278" cy="551137"/>
            </a:xfrm>
            <a:custGeom>
              <a:avLst/>
              <a:gdLst/>
              <a:ahLst/>
              <a:cxnLst/>
              <a:rect l="l" t="t" r="r" b="b"/>
              <a:pathLst>
                <a:path w="2090139" h="400827">
                  <a:moveTo>
                    <a:pt x="1957604" y="0"/>
                  </a:moveTo>
                  <a:lnTo>
                    <a:pt x="786455" y="0"/>
                  </a:lnTo>
                  <a:lnTo>
                    <a:pt x="0" y="400827"/>
                  </a:lnTo>
                  <a:lnTo>
                    <a:pt x="2090139" y="400827"/>
                  </a:lnTo>
                  <a:lnTo>
                    <a:pt x="1957604" y="0"/>
                  </a:lnTo>
                </a:path>
              </a:pathLst>
            </a:custGeom>
            <a:solidFill>
              <a:srgbClr val="C1C922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304803"/>
              <a:endParaRPr sz="1467">
                <a:solidFill>
                  <a:srgbClr val="161718"/>
                </a:solidFill>
              </a:endParaRPr>
            </a:p>
          </p:txBody>
        </p:sp>
        <p:sp>
          <p:nvSpPr>
            <p:cNvPr id="15" name="object 91"/>
            <p:cNvSpPr/>
            <p:nvPr/>
          </p:nvSpPr>
          <p:spPr>
            <a:xfrm>
              <a:off x="9312689" y="9507263"/>
              <a:ext cx="3676578" cy="551137"/>
            </a:xfrm>
            <a:custGeom>
              <a:avLst/>
              <a:gdLst/>
              <a:ahLst/>
              <a:cxnLst/>
              <a:rect l="l" t="t" r="r" b="b"/>
              <a:pathLst>
                <a:path w="1838289" h="400827">
                  <a:moveTo>
                    <a:pt x="1838289" y="0"/>
                  </a:moveTo>
                  <a:lnTo>
                    <a:pt x="0" y="0"/>
                  </a:lnTo>
                  <a:lnTo>
                    <a:pt x="104442" y="400827"/>
                  </a:lnTo>
                  <a:lnTo>
                    <a:pt x="1568621" y="400827"/>
                  </a:lnTo>
                  <a:lnTo>
                    <a:pt x="1838289" y="0"/>
                  </a:lnTo>
                  <a:close/>
                </a:path>
              </a:pathLst>
            </a:custGeom>
            <a:solidFill>
              <a:srgbClr val="0093CB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304803"/>
              <a:endParaRPr sz="1467">
                <a:solidFill>
                  <a:srgbClr val="161718"/>
                </a:solidFill>
              </a:endParaRPr>
            </a:p>
          </p:txBody>
        </p:sp>
        <p:sp>
          <p:nvSpPr>
            <p:cNvPr id="16" name="object 92"/>
            <p:cNvSpPr/>
            <p:nvPr/>
          </p:nvSpPr>
          <p:spPr>
            <a:xfrm>
              <a:off x="12408246" y="9507263"/>
              <a:ext cx="3583594" cy="551137"/>
            </a:xfrm>
            <a:custGeom>
              <a:avLst/>
              <a:gdLst/>
              <a:ahLst/>
              <a:cxnLst/>
              <a:rect l="l" t="t" r="r" b="b"/>
              <a:pathLst>
                <a:path w="2362519" h="400827">
                  <a:moveTo>
                    <a:pt x="2336482" y="0"/>
                  </a:moveTo>
                  <a:lnTo>
                    <a:pt x="272203" y="0"/>
                  </a:lnTo>
                  <a:lnTo>
                    <a:pt x="0" y="400827"/>
                  </a:lnTo>
                  <a:lnTo>
                    <a:pt x="2362519" y="400827"/>
                  </a:lnTo>
                  <a:lnTo>
                    <a:pt x="2336482" y="0"/>
                  </a:lnTo>
                </a:path>
              </a:pathLst>
            </a:custGeom>
            <a:solidFill>
              <a:srgbClr val="56AED9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304803"/>
              <a:endParaRPr sz="1467">
                <a:solidFill>
                  <a:srgbClr val="161718"/>
                </a:solidFill>
              </a:endParaRPr>
            </a:p>
          </p:txBody>
        </p:sp>
        <p:sp>
          <p:nvSpPr>
            <p:cNvPr id="17" name="object 93"/>
            <p:cNvSpPr/>
            <p:nvPr/>
          </p:nvSpPr>
          <p:spPr>
            <a:xfrm>
              <a:off x="15768320" y="9507263"/>
              <a:ext cx="2519680" cy="551137"/>
            </a:xfrm>
            <a:custGeom>
              <a:avLst/>
              <a:gdLst/>
              <a:ahLst/>
              <a:cxnLst/>
              <a:rect l="l" t="t" r="r" b="b"/>
              <a:pathLst>
                <a:path w="610015" h="400827">
                  <a:moveTo>
                    <a:pt x="610015" y="0"/>
                  </a:moveTo>
                  <a:lnTo>
                    <a:pt x="0" y="0"/>
                  </a:lnTo>
                  <a:lnTo>
                    <a:pt x="27999" y="400827"/>
                  </a:lnTo>
                  <a:lnTo>
                    <a:pt x="610015" y="400827"/>
                  </a:lnTo>
                  <a:lnTo>
                    <a:pt x="610015" y="0"/>
                  </a:lnTo>
                  <a:close/>
                </a:path>
              </a:pathLst>
            </a:custGeom>
            <a:solidFill>
              <a:srgbClr val="0093CB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304803"/>
              <a:endParaRPr sz="1467">
                <a:solidFill>
                  <a:srgbClr val="161718"/>
                </a:solidFill>
              </a:endParaRPr>
            </a:p>
          </p:txBody>
        </p:sp>
        <p:sp>
          <p:nvSpPr>
            <p:cNvPr id="18" name="object 94"/>
            <p:cNvSpPr/>
            <p:nvPr/>
          </p:nvSpPr>
          <p:spPr>
            <a:xfrm>
              <a:off x="6435127" y="9507263"/>
              <a:ext cx="1724164" cy="551137"/>
            </a:xfrm>
            <a:custGeom>
              <a:avLst/>
              <a:gdLst/>
              <a:ahLst/>
              <a:cxnLst/>
              <a:rect l="l" t="t" r="r" b="b"/>
              <a:pathLst>
                <a:path w="862082" h="400827">
                  <a:moveTo>
                    <a:pt x="655674" y="0"/>
                  </a:moveTo>
                  <a:lnTo>
                    <a:pt x="0" y="0"/>
                  </a:lnTo>
                  <a:lnTo>
                    <a:pt x="11414" y="35195"/>
                  </a:lnTo>
                  <a:lnTo>
                    <a:pt x="22084" y="68487"/>
                  </a:lnTo>
                  <a:lnTo>
                    <a:pt x="30898" y="96506"/>
                  </a:lnTo>
                  <a:lnTo>
                    <a:pt x="37563" y="118398"/>
                  </a:lnTo>
                  <a:lnTo>
                    <a:pt x="41784" y="133311"/>
                  </a:lnTo>
                  <a:lnTo>
                    <a:pt x="43269" y="140392"/>
                  </a:lnTo>
                  <a:lnTo>
                    <a:pt x="47377" y="146147"/>
                  </a:lnTo>
                  <a:lnTo>
                    <a:pt x="61950" y="183295"/>
                  </a:lnTo>
                  <a:lnTo>
                    <a:pt x="75588" y="227435"/>
                  </a:lnTo>
                  <a:lnTo>
                    <a:pt x="78969" y="238629"/>
                  </a:lnTo>
                  <a:lnTo>
                    <a:pt x="132573" y="400827"/>
                  </a:lnTo>
                  <a:lnTo>
                    <a:pt x="862082" y="400827"/>
                  </a:lnTo>
                  <a:lnTo>
                    <a:pt x="655674" y="0"/>
                  </a:lnTo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304803"/>
              <a:endParaRPr sz="1467">
                <a:solidFill>
                  <a:srgbClr val="161718"/>
                </a:solidFill>
              </a:endParaRPr>
            </a:p>
          </p:txBody>
        </p:sp>
        <p:sp>
          <p:nvSpPr>
            <p:cNvPr id="19" name="object 95"/>
            <p:cNvSpPr/>
            <p:nvPr/>
          </p:nvSpPr>
          <p:spPr>
            <a:xfrm>
              <a:off x="6222530" y="9507263"/>
              <a:ext cx="1487568" cy="551137"/>
            </a:xfrm>
            <a:custGeom>
              <a:avLst/>
              <a:gdLst/>
              <a:ahLst/>
              <a:cxnLst/>
              <a:rect l="l" t="t" r="r" b="b"/>
              <a:pathLst>
                <a:path w="743784" h="400827">
                  <a:moveTo>
                    <a:pt x="559156" y="0"/>
                  </a:moveTo>
                  <a:lnTo>
                    <a:pt x="0" y="0"/>
                  </a:lnTo>
                  <a:lnTo>
                    <a:pt x="9941" y="35196"/>
                  </a:lnTo>
                  <a:lnTo>
                    <a:pt x="19233" y="68488"/>
                  </a:lnTo>
                  <a:lnTo>
                    <a:pt x="26910" y="96506"/>
                  </a:lnTo>
                  <a:lnTo>
                    <a:pt x="32715" y="118399"/>
                  </a:lnTo>
                  <a:lnTo>
                    <a:pt x="36393" y="133311"/>
                  </a:lnTo>
                  <a:lnTo>
                    <a:pt x="37687" y="140392"/>
                  </a:lnTo>
                  <a:lnTo>
                    <a:pt x="41315" y="146263"/>
                  </a:lnTo>
                  <a:lnTo>
                    <a:pt x="54196" y="184165"/>
                  </a:lnTo>
                  <a:lnTo>
                    <a:pt x="66147" y="228683"/>
                  </a:lnTo>
                  <a:lnTo>
                    <a:pt x="69050" y="239699"/>
                  </a:lnTo>
                  <a:lnTo>
                    <a:pt x="115429" y="400827"/>
                  </a:lnTo>
                  <a:lnTo>
                    <a:pt x="743784" y="400827"/>
                  </a:lnTo>
                  <a:lnTo>
                    <a:pt x="559156" y="0"/>
                  </a:lnTo>
                </a:path>
              </a:pathLst>
            </a:custGeom>
            <a:solidFill>
              <a:srgbClr val="2C2B2D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304803"/>
              <a:endParaRPr sz="1467">
                <a:solidFill>
                  <a:srgbClr val="161718"/>
                </a:solidFill>
              </a:endParaRPr>
            </a:p>
          </p:txBody>
        </p:sp>
      </p:grpSp>
      <p:sp>
        <p:nvSpPr>
          <p:cNvPr id="37" name="Title 17"/>
          <p:cNvSpPr>
            <a:spLocks noGrp="1"/>
          </p:cNvSpPr>
          <p:nvPr>
            <p:ph type="title"/>
          </p:nvPr>
        </p:nvSpPr>
        <p:spPr>
          <a:xfrm>
            <a:off x="1024598" y="305464"/>
            <a:ext cx="9754316" cy="33539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133" b="0" cap="none" normalizeH="0" baseline="0">
                <a:solidFill>
                  <a:schemeClr val="tx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1001" y="6519149"/>
            <a:ext cx="320985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5CE75A-17E1-4137-AC71-C3439D4155A6}" type="slidenum">
              <a:rPr lang="en-US" smtClean="0">
                <a:solidFill>
                  <a:srgbClr val="161718"/>
                </a:solidFill>
              </a:rPr>
              <a:pPr/>
              <a:t>‹#›</a:t>
            </a:fld>
            <a:endParaRPr lang="en-US">
              <a:solidFill>
                <a:srgbClr val="161718"/>
              </a:solidFill>
            </a:endParaRPr>
          </a:p>
        </p:txBody>
      </p:sp>
      <p:grpSp>
        <p:nvGrpSpPr>
          <p:cNvPr id="4" name="Group 3"/>
          <p:cNvGrpSpPr/>
          <p:nvPr userDrawn="1"/>
        </p:nvGrpSpPr>
        <p:grpSpPr>
          <a:xfrm>
            <a:off x="267499" y="301135"/>
            <a:ext cx="614375" cy="335399"/>
            <a:chOff x="0" y="426423"/>
            <a:chExt cx="921563" cy="491918"/>
          </a:xfrm>
        </p:grpSpPr>
        <p:sp>
          <p:nvSpPr>
            <p:cNvPr id="43" name="Rectangle 42"/>
            <p:cNvSpPr/>
            <p:nvPr userDrawn="1"/>
          </p:nvSpPr>
          <p:spPr>
            <a:xfrm>
              <a:off x="116662" y="504108"/>
              <a:ext cx="461823" cy="336549"/>
            </a:xfrm>
            <a:prstGeom prst="rect">
              <a:avLst/>
            </a:prstGeom>
            <a:solidFill>
              <a:srgbClr val="D7D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04803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44" name="Freeform: Shape 43"/>
            <p:cNvSpPr/>
            <p:nvPr userDrawn="1"/>
          </p:nvSpPr>
          <p:spPr>
            <a:xfrm>
              <a:off x="0" y="426423"/>
              <a:ext cx="921563" cy="491918"/>
            </a:xfrm>
            <a:custGeom>
              <a:avLst/>
              <a:gdLst>
                <a:gd name="connsiteX0" fmla="*/ 213662 w 921563"/>
                <a:gd name="connsiteY0" fmla="*/ 112609 h 491918"/>
                <a:gd name="connsiteX1" fmla="*/ 347012 w 921563"/>
                <a:gd name="connsiteY1" fmla="*/ 245959 h 491918"/>
                <a:gd name="connsiteX2" fmla="*/ 213662 w 921563"/>
                <a:gd name="connsiteY2" fmla="*/ 379309 h 491918"/>
                <a:gd name="connsiteX3" fmla="*/ 369721 w 921563"/>
                <a:gd name="connsiteY3" fmla="*/ 379309 h 491918"/>
                <a:gd name="connsiteX4" fmla="*/ 503071 w 921563"/>
                <a:gd name="connsiteY4" fmla="*/ 245959 h 491918"/>
                <a:gd name="connsiteX5" fmla="*/ 369721 w 921563"/>
                <a:gd name="connsiteY5" fmla="*/ 112609 h 491918"/>
                <a:gd name="connsiteX6" fmla="*/ 0 w 921563"/>
                <a:gd name="connsiteY6" fmla="*/ 0 h 491918"/>
                <a:gd name="connsiteX7" fmla="*/ 675604 w 921563"/>
                <a:gd name="connsiteY7" fmla="*/ 0 h 491918"/>
                <a:gd name="connsiteX8" fmla="*/ 921563 w 921563"/>
                <a:gd name="connsiteY8" fmla="*/ 245959 h 491918"/>
                <a:gd name="connsiteX9" fmla="*/ 675604 w 921563"/>
                <a:gd name="connsiteY9" fmla="*/ 491918 h 491918"/>
                <a:gd name="connsiteX10" fmla="*/ 0 w 921563"/>
                <a:gd name="connsiteY10" fmla="*/ 491918 h 49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1563" h="491918">
                  <a:moveTo>
                    <a:pt x="213662" y="112609"/>
                  </a:moveTo>
                  <a:lnTo>
                    <a:pt x="347012" y="245959"/>
                  </a:lnTo>
                  <a:lnTo>
                    <a:pt x="213662" y="379309"/>
                  </a:lnTo>
                  <a:lnTo>
                    <a:pt x="369721" y="379309"/>
                  </a:lnTo>
                  <a:lnTo>
                    <a:pt x="503071" y="245959"/>
                  </a:lnTo>
                  <a:lnTo>
                    <a:pt x="369721" y="112609"/>
                  </a:lnTo>
                  <a:close/>
                  <a:moveTo>
                    <a:pt x="0" y="0"/>
                  </a:moveTo>
                  <a:lnTo>
                    <a:pt x="675604" y="0"/>
                  </a:lnTo>
                  <a:lnTo>
                    <a:pt x="921563" y="245959"/>
                  </a:lnTo>
                  <a:lnTo>
                    <a:pt x="675604" y="491918"/>
                  </a:lnTo>
                  <a:lnTo>
                    <a:pt x="0" y="491918"/>
                  </a:lnTo>
                  <a:close/>
                </a:path>
              </a:pathLst>
            </a:custGeom>
            <a:solidFill>
              <a:srgbClr val="0089CD"/>
            </a:solidFill>
            <a:ln>
              <a:noFill/>
            </a:ln>
            <a:effectLst>
              <a:outerShdw blurRad="25400" dist="38100" dir="2700000" algn="tl" rotWithShape="0">
                <a:prstClr val="black">
                  <a:alpha val="5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04803"/>
              <a:endParaRPr lang="en-US" sz="1200">
                <a:solidFill>
                  <a:srgbClr val="FFFFFF"/>
                </a:solidFill>
              </a:endParaRPr>
            </a:p>
          </p:txBody>
        </p:sp>
      </p:grpSp>
      <p:cxnSp>
        <p:nvCxnSpPr>
          <p:cNvPr id="47" name="Straight Connector 46"/>
          <p:cNvCxnSpPr/>
          <p:nvPr userDrawn="1"/>
        </p:nvCxnSpPr>
        <p:spPr>
          <a:xfrm>
            <a:off x="1100798" y="640862"/>
            <a:ext cx="10557803" cy="0"/>
          </a:xfrm>
          <a:prstGeom prst="line">
            <a:avLst/>
          </a:prstGeom>
          <a:ln w="28575">
            <a:solidFill>
              <a:srgbClr val="0089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 userDrawn="1"/>
        </p:nvGrpSpPr>
        <p:grpSpPr>
          <a:xfrm>
            <a:off x="2" y="6463146"/>
            <a:ext cx="5112271" cy="291242"/>
            <a:chOff x="-41220" y="9574530"/>
            <a:chExt cx="7668407" cy="427155"/>
          </a:xfrm>
        </p:grpSpPr>
        <p:sp>
          <p:nvSpPr>
            <p:cNvPr id="24" name="Freeform: Shape 23"/>
            <p:cNvSpPr/>
            <p:nvPr userDrawn="1"/>
          </p:nvSpPr>
          <p:spPr>
            <a:xfrm>
              <a:off x="-41220" y="9574530"/>
              <a:ext cx="7668407" cy="427155"/>
            </a:xfrm>
            <a:custGeom>
              <a:avLst/>
              <a:gdLst>
                <a:gd name="connsiteX0" fmla="*/ 0 w 7668407"/>
                <a:gd name="connsiteY0" fmla="*/ 0 h 406887"/>
                <a:gd name="connsiteX1" fmla="*/ 7668407 w 7668407"/>
                <a:gd name="connsiteY1" fmla="*/ 0 h 406887"/>
                <a:gd name="connsiteX2" fmla="*/ 7508928 w 7668407"/>
                <a:gd name="connsiteY2" fmla="*/ 406887 h 406887"/>
                <a:gd name="connsiteX3" fmla="*/ 0 w 7668407"/>
                <a:gd name="connsiteY3" fmla="*/ 406887 h 406887"/>
                <a:gd name="connsiteX4" fmla="*/ 0 w 7668407"/>
                <a:gd name="connsiteY4" fmla="*/ 0 h 40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68407" h="406887">
                  <a:moveTo>
                    <a:pt x="0" y="0"/>
                  </a:moveTo>
                  <a:lnTo>
                    <a:pt x="7668407" y="0"/>
                  </a:lnTo>
                  <a:lnTo>
                    <a:pt x="7508928" y="406887"/>
                  </a:lnTo>
                  <a:lnTo>
                    <a:pt x="0" y="4068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9CD"/>
            </a:solidFill>
            <a:ln>
              <a:noFill/>
            </a:ln>
            <a:effectLst>
              <a:outerShdw blurRad="63500" dist="76200" dir="2700000" algn="tl" rotWithShape="0">
                <a:schemeClr val="tx1">
                  <a:alpha val="62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04803"/>
              <a:endParaRPr lang="en-US" sz="1200">
                <a:solidFill>
                  <a:srgbClr val="FFFFFF"/>
                </a:solidFill>
              </a:endParaRPr>
            </a:p>
          </p:txBody>
        </p:sp>
        <p:graphicFrame>
          <p:nvGraphicFramePr>
            <p:cNvPr id="25" name="Object 24"/>
            <p:cNvGraphicFramePr>
              <a:graphicFrameLocks noChangeAspect="1"/>
            </p:cNvGraphicFramePr>
            <p:nvPr userDrawn="1"/>
          </p:nvGraphicFramePr>
          <p:xfrm>
            <a:off x="5979947" y="9665582"/>
            <a:ext cx="1346256" cy="23691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orelDRAW" r:id="rId2" imgW="2112423" imgH="500876" progId="CorelDraw.Graphic.16">
                    <p:embed/>
                  </p:oleObj>
                </mc:Choice>
                <mc:Fallback>
                  <p:oleObj name="CorelDRAW" r:id="rId2" imgW="2112423" imgH="500876" progId="CorelDraw.Graphic.16">
                    <p:embed/>
                    <p:pic>
                      <p:nvPicPr>
                        <p:cNvPr id="25" name="Object 24"/>
                        <p:cNvPicPr/>
                        <p:nvPr/>
                      </p:nvPicPr>
                      <p:blipFill>
                        <a:blip r:embed="rId3"/>
                        <a:stretch>
                          <a:fillRect/>
                        </a:stretch>
                      </p:blipFill>
                      <p:spPr>
                        <a:xfrm>
                          <a:off x="5979947" y="9665582"/>
                          <a:ext cx="1346256" cy="23691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878184955"/>
      </p:ext>
    </p:extLst>
  </p:cSld>
  <p:clrMapOvr>
    <a:masterClrMapping/>
  </p:clrMapOvr>
  <p:transition spd="slow">
    <p:push dir="u"/>
  </p:transition>
  <p:hf hdr="0" ft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04272" y="709984"/>
            <a:ext cx="11055615" cy="550333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/>
          </p:nvPr>
        </p:nvSpPr>
        <p:spPr>
          <a:xfrm>
            <a:off x="277790" y="1547785"/>
            <a:ext cx="11151901" cy="46834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" y="6515100"/>
            <a:ext cx="6096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fld id="{2AAA71ED-8F0A-4F74-A503-A1718E888FF0}" type="datetime1">
              <a:rPr lang="en-US" smtClean="0"/>
              <a:pPr/>
              <a:t>10/17/2024</a:t>
            </a:fld>
            <a:endParaRPr lang="en-US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515100"/>
            <a:ext cx="78486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r>
              <a:rPr lang="en-US"/>
              <a:t>Sample footer</a:t>
            </a:r>
          </a:p>
        </p:txBody>
      </p:sp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04800" y="6515100"/>
            <a:ext cx="304800" cy="228600"/>
          </a:xfrm>
        </p:spPr>
        <p:txBody>
          <a:bodyPr/>
          <a:lstStyle>
            <a:lvl1pPr>
              <a:defRPr sz="833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6" name="Straight Connector 25"/>
          <p:cNvCxnSpPr/>
          <p:nvPr userDrawn="1"/>
        </p:nvCxnSpPr>
        <p:spPr>
          <a:xfrm rot="5400000">
            <a:off x="519642" y="6628342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1293283" y="6628342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rot="5400000">
            <a:off x="2865967" y="6628342"/>
            <a:ext cx="228600" cy="211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oter Placeholder 4"/>
          <p:cNvSpPr txBox="1">
            <a:spLocks/>
          </p:cNvSpPr>
          <p:nvPr userDrawn="1"/>
        </p:nvSpPr>
        <p:spPr>
          <a:xfrm>
            <a:off x="1513418" y="6515100"/>
            <a:ext cx="1381125" cy="228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marL="0" marR="0" lvl="0" indent="0" algn="l" defTabSz="7619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© KPIT Technologies Limited</a:t>
            </a:r>
          </a:p>
        </p:txBody>
      </p:sp>
      <p:pic>
        <p:nvPicPr>
          <p:cNvPr id="31" name="Picture 30" descr="KPIT logo-(RGB)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8152" y="6369998"/>
            <a:ext cx="1065490" cy="488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73401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6D10E045-6764-45CB-99B9-718B1F141BF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09140E5-776C-4A55-B1B3-051694B3E1A2}" type="slidenum"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0B15FB-1D92-4EEE-B972-8BB000065BE6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0" y="1688512"/>
            <a:ext cx="12191996" cy="4872627"/>
          </a:xfrm>
        </p:spPr>
        <p:txBody>
          <a:bodyPr/>
          <a:lstStyle>
            <a:lvl1pPr>
              <a:spcBef>
                <a:spcPts val="850"/>
              </a:spcBef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itel 7">
            <a:extLst>
              <a:ext uri="{FF2B5EF4-FFF2-40B4-BE49-F238E27FC236}">
                <a16:creationId xmlns:a16="http://schemas.microsoft.com/office/drawing/2014/main" id="{3E800FAB-BD9A-4E93-85DD-DA1D24116B1C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72138755"/>
      </p:ext>
    </p:extLst>
  </p:cSld>
  <p:clrMapOvr>
    <a:masterClrMapping/>
  </p:clrMapOvr>
  <p:transition>
    <p:fade/>
  </p:transition>
  <p:hf sldNum="0" hdr="0" ftr="0" dt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PlaceHolder 1"/>
          <p:cNvSpPr>
            <a:spLocks noGrp="1"/>
          </p:cNvSpPr>
          <p:nvPr>
            <p:ph type="title"/>
          </p:nvPr>
        </p:nvSpPr>
        <p:spPr>
          <a:xfrm>
            <a:off x="609480" y="507447"/>
            <a:ext cx="10972440" cy="677108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5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51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663186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DC6AB9-8AB9-4FE9-8C42-F0F32AFF10C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97D9F2B-44B1-4815-BC40-D69E50701F30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81838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149604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BB9A967-9DD9-4DD6-A720-46986134B1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0E654D-2240-4341-81DD-73958672DBB4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221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0" y="1041188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0A18FA5-BB6A-4CAA-B99D-D389D6D3D91C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2692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13209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midd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2995025"/>
            <a:ext cx="11117083" cy="800219"/>
          </a:xfrm>
        </p:spPr>
        <p:txBody>
          <a:bodyPr anchor="ctr" anchorCtr="0"/>
          <a:lstStyle>
            <a:lvl1pPr algn="ctr">
              <a:lnSpc>
                <a:spcPct val="100000"/>
              </a:lnSpc>
              <a:defRPr sz="4600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FF18A5-09F4-47C1-A4BD-EC66B9E1685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6406F3BD-DB67-4684-9CAE-0B464D5382AD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EBA99D-F27E-46D4-86A6-1803583B424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8AA439-BB0B-4BC6-A160-9D3AE0EBCD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3588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0" y="1041188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0A18FA5-BB6A-4CAA-B99D-D389D6D3D91C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36575" y="1641352"/>
            <a:ext cx="11117263" cy="43133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781628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whit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331D50D-30CF-4EDE-AAD6-F27CA1FDE9C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EB0A0A3-CCB9-4814-8DA4-4E01BFFEE1EE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B98D741-86A0-4952-A3ED-78E843F23CF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8A9C1A8-0BFC-4236-A720-3456710C7F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561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ottom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bottom"/>
          <p:cNvSpPr>
            <a:spLocks noGrp="1"/>
          </p:cNvSpPr>
          <p:nvPr>
            <p:ph type="title"/>
          </p:nvPr>
        </p:nvSpPr>
        <p:spPr>
          <a:xfrm>
            <a:off x="537459" y="4376267"/>
            <a:ext cx="11117083" cy="800219"/>
          </a:xfrm>
        </p:spPr>
        <p:txBody>
          <a:bodyPr/>
          <a:lstStyle>
            <a:lvl1pPr>
              <a:defRPr sz="46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0820E8D-C14D-4C0B-BD6B-8F88D7BAADE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7153D2F-9CFD-44D8-8D62-108FB17617AD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74A7328-CA38-4B1B-B573-1B0774D3AC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DFC39A8-2928-4641-814D-B19F9B6E95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820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 backgrou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4" y="0"/>
            <a:ext cx="584077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04751" y="2817264"/>
            <a:ext cx="5245824" cy="1476440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3D586E-F233-48FE-A780-BB4D0BED11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6896" y="4383088"/>
            <a:ext cx="5243679" cy="367816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BDFC6F-3286-4A3D-A782-EF139340A1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751" y="464694"/>
            <a:ext cx="1727322" cy="49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00191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 backgroun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84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896ED2-8998-45EC-B37F-E645AEBA4D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50000" y="2454275"/>
            <a:ext cx="5238750" cy="2236788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IN" sz="3200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3521059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F54AED-ADE0-4FD9-A927-39235D4125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A53B7BF-463C-4115-B51B-0FDA8C66D59A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02755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er &amp;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42516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Title_center_white"/>
          <p:cNvSpPr>
            <a:spLocks noGrp="1"/>
          </p:cNvSpPr>
          <p:nvPr>
            <p:ph type="title"/>
          </p:nvPr>
        </p:nvSpPr>
        <p:spPr>
          <a:xfrm>
            <a:off x="537459" y="1393077"/>
            <a:ext cx="11117083" cy="854080"/>
          </a:xfrm>
        </p:spPr>
        <p:txBody>
          <a:bodyPr/>
          <a:lstStyle>
            <a:lvl1pPr algn="ctr">
              <a:lnSpc>
                <a:spcPct val="90000"/>
              </a:lnSpc>
              <a:defRPr sz="55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9EAB10-2A06-46DB-9D61-651C4714BC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52CD7EE-76B7-4AEB-8F2E-967E14F1AE03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92066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425132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6" name="Title_white"/>
          <p:cNvSpPr>
            <a:spLocks noGrp="1"/>
          </p:cNvSpPr>
          <p:nvPr>
            <p:ph type="title"/>
          </p:nvPr>
        </p:nvSpPr>
        <p:spPr>
          <a:xfrm>
            <a:off x="537459" y="507600"/>
            <a:ext cx="11117083" cy="60016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_white"/>
          <p:cNvSpPr>
            <a:spLocks noGrp="1"/>
          </p:cNvSpPr>
          <p:nvPr>
            <p:ph type="body" sz="quarter" idx="14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rgbClr val="FFFFFF"/>
                </a:solidFill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E8390B-E553-4AFB-9D02-3A91A917F16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43CF453-BAE3-4EEA-8076-C882B98A29AA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27975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que 3">
            <a:extLst>
              <a:ext uri="{FF2B5EF4-FFF2-40B4-BE49-F238E27FC236}">
                <a16:creationId xmlns:a16="http://schemas.microsoft.com/office/drawing/2014/main" id="{742C5D36-EB7D-E341-A312-C09503CAD4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6849" y="259651"/>
            <a:ext cx="477225" cy="232747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6173BC7-F836-E64C-9918-06E2532200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5775" y="266400"/>
            <a:ext cx="9359900" cy="298450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1" i="0">
                <a:latin typeface="+mj-lt"/>
              </a:defRPr>
            </a:lvl1pPr>
          </a:lstStyle>
          <a:p>
            <a:pPr lvl="0"/>
            <a:r>
              <a:rPr lang="en-GB" noProof="1"/>
              <a:t>Titl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BA7F692-6109-4850-BB77-52C7765E2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6" y="873125"/>
            <a:ext cx="11218298" cy="549592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 b="1" cap="all" baseline="0">
                <a:solidFill>
                  <a:schemeClr val="accent1"/>
                </a:solidFill>
                <a:latin typeface="Read" panose="020B0501020204020B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b="0" i="0">
                <a:latin typeface="+mn-lt"/>
              </a:defRPr>
            </a:lvl2pPr>
            <a:lvl3pPr marL="269875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b="0" i="0">
                <a:latin typeface="+mn-lt"/>
              </a:defRPr>
            </a:lvl3pPr>
            <a:lvl4pPr marL="35718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Renault Group" pitchFamily="2" charset="0"/>
              <a:buChar char="-"/>
              <a:defRPr sz="1400" b="0" i="0">
                <a:solidFill>
                  <a:schemeClr val="tx1"/>
                </a:solidFill>
                <a:latin typeface="+mn-lt"/>
              </a:defRPr>
            </a:lvl4pPr>
            <a:lvl5pPr marL="5397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fr-FR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693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fr-FR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95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fr-FR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5412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GB" sz="1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noProof="1"/>
              <a:t>Text level 1</a:t>
            </a:r>
          </a:p>
          <a:p>
            <a:pPr lvl="1"/>
            <a:r>
              <a:rPr lang="en-GB" noProof="1"/>
              <a:t>Text level 2</a:t>
            </a:r>
          </a:p>
          <a:p>
            <a:pPr lvl="2"/>
            <a:r>
              <a:rPr lang="en-GB" noProof="1"/>
              <a:t>Text level 3</a:t>
            </a:r>
          </a:p>
          <a:p>
            <a:pPr lvl="3"/>
            <a:r>
              <a:rPr lang="en-GB" noProof="1"/>
              <a:t>Text level 4</a:t>
            </a:r>
          </a:p>
          <a:p>
            <a:pPr lvl="4"/>
            <a:r>
              <a:rPr lang="en-GB" noProof="1"/>
              <a:t>Text level 5</a:t>
            </a:r>
          </a:p>
          <a:p>
            <a:pPr lvl="5"/>
            <a:r>
              <a:rPr lang="en-GB" noProof="1"/>
              <a:t>Text level 6</a:t>
            </a:r>
          </a:p>
          <a:p>
            <a:pPr lvl="6"/>
            <a:r>
              <a:rPr lang="en-GB" noProof="1"/>
              <a:t>Text level 7</a:t>
            </a:r>
          </a:p>
          <a:p>
            <a:pPr lvl="7"/>
            <a:r>
              <a:rPr lang="en-GB" noProof="1"/>
              <a:t>Text level 8</a:t>
            </a:r>
          </a:p>
          <a:p>
            <a:pPr lvl="8"/>
            <a:r>
              <a:rPr lang="en-GB" noProof="1"/>
              <a:t>Text level 9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C79D6C1-451F-4A1F-BAC9-1C88666A3866}"/>
              </a:ext>
            </a:extLst>
          </p:cNvPr>
          <p:cNvSpPr txBox="1"/>
          <p:nvPr userDrawn="1"/>
        </p:nvSpPr>
        <p:spPr>
          <a:xfrm>
            <a:off x="10396478" y="6637294"/>
            <a:ext cx="1660741" cy="196426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txBody>
          <a:bodyPr wrap="square" lIns="54000" tIns="0" rIns="0" bIns="0" rtlCol="0" anchor="ctr" anchorCtr="0">
            <a:noAutofit/>
          </a:bodyPr>
          <a:lstStyle/>
          <a:p>
            <a:pPr algn="l"/>
            <a:r>
              <a:rPr lang="fr-FR" sz="1050" b="0" i="0">
                <a:solidFill>
                  <a:schemeClr val="tx1"/>
                </a:solidFill>
                <a:latin typeface="Renault Group" pitchFamily="2" charset="0"/>
                <a:cs typeface="Arial" panose="020B0604020202020204" pitchFamily="34" charset="0"/>
              </a:rPr>
              <a:t>Renault Confidentiel C</a:t>
            </a:r>
          </a:p>
        </p:txBody>
      </p:sp>
    </p:spTree>
    <p:extLst>
      <p:ext uri="{BB962C8B-B14F-4D97-AF65-F5344CB8AC3E}">
        <p14:creationId xmlns:p14="http://schemas.microsoft.com/office/powerpoint/2010/main" val="246161047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Your Initials, Presentation Title, Month Y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689765-5485-4130-8525-AA8B12692EF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6DFB0685-E41E-48F7-892A-BB3ACAC4FF11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-1" y="1"/>
            <a:ext cx="11184567" cy="1628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0" tIns="45720" rIns="45720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/>
              <a:t>Enter </a:t>
            </a:r>
            <a:r>
              <a:rPr lang="de-DE" err="1"/>
              <a:t>slide</a:t>
            </a:r>
            <a:r>
              <a:rPr lang="de-DE"/>
              <a:t> title, Arial 24pt </a:t>
            </a:r>
            <a:r>
              <a:rPr lang="de-DE" err="1"/>
              <a:t>bold</a:t>
            </a:r>
            <a:r>
              <a:rPr lang="de-DE"/>
              <a:t>, max. 2 </a:t>
            </a:r>
            <a:r>
              <a:rPr lang="de-DE" err="1"/>
              <a:t>lines</a:t>
            </a:r>
            <a:endParaRPr lang="en-US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19ADA30C-4790-4619-A483-D1308191461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1773238"/>
            <a:ext cx="12192000" cy="46799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nter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Enter </a:t>
            </a:r>
            <a:r>
              <a:rPr lang="de-DE" err="1"/>
              <a:t>text</a:t>
            </a:r>
            <a:endParaRPr lang="de-DE"/>
          </a:p>
          <a:p>
            <a:pPr lvl="2"/>
            <a:r>
              <a:rPr lang="de-DE"/>
              <a:t>Enter </a:t>
            </a:r>
            <a:r>
              <a:rPr lang="de-DE" err="1"/>
              <a:t>text</a:t>
            </a:r>
            <a:endParaRPr lang="de-DE"/>
          </a:p>
          <a:p>
            <a:pPr lvl="3"/>
            <a:r>
              <a:rPr lang="de-DE"/>
              <a:t>Enter </a:t>
            </a:r>
            <a:r>
              <a:rPr lang="de-DE" err="1"/>
              <a:t>text</a:t>
            </a:r>
            <a:endParaRPr lang="de-DE"/>
          </a:p>
          <a:p>
            <a:pPr lvl="4"/>
            <a:r>
              <a:rPr lang="de-DE"/>
              <a:t>Enter </a:t>
            </a:r>
            <a:r>
              <a:rPr lang="de-DE" err="1"/>
              <a:t>tex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458071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nter with background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1188801"/>
            <a:ext cx="11117083" cy="800219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600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87D3ED-8D67-4329-961D-BAFB628883A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BD52994-168F-4B18-B4BC-AD2D6A4B491A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8796849-6AD9-46A1-9917-550D61FDBEE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89D0C9D-FFF7-4329-BDB4-01B62B2341A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0947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6EF514-C482-4232-A3C4-2A64B27FDA7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5E48E48-02AE-425B-87D4-D52333BDDC0A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07578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Espace réservé pour une image  11">
            <a:extLst>
              <a:ext uri="{FF2B5EF4-FFF2-40B4-BE49-F238E27FC236}">
                <a16:creationId xmlns:a16="http://schemas.microsoft.com/office/drawing/2014/main" id="{2D2963E7-31E6-554B-876C-39B8C8385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2324" y="5261008"/>
            <a:ext cx="10912000" cy="403957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ct val="75000"/>
              </a:lnSpc>
              <a:defRPr lang="en-GB" sz="28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Presentation title</a:t>
            </a:r>
          </a:p>
        </p:txBody>
      </p:sp>
      <p:sp>
        <p:nvSpPr>
          <p:cNvPr id="8" name="Sous-titre 2">
            <a:extLst>
              <a:ext uri="{FF2B5EF4-FFF2-40B4-BE49-F238E27FC236}">
                <a16:creationId xmlns:a16="http://schemas.microsoft.com/office/drawing/2014/main" id="{B6B0BE4C-9A25-4D0D-9CC3-4D42C3704D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0819" y="5718191"/>
            <a:ext cx="10890330" cy="1938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GB" sz="1400" strike="noStrike" kern="1200" cap="all" baseline="0" noProof="0" dirty="0">
                <a:solidFill>
                  <a:schemeClr val="bg1"/>
                </a:solidFill>
                <a:latin typeface="Renault Group Light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 or presentation subtitle</a:t>
            </a:r>
          </a:p>
        </p:txBody>
      </p:sp>
      <p:sp>
        <p:nvSpPr>
          <p:cNvPr id="6" name="Forme libre 5">
            <a:extLst>
              <a:ext uri="{FF2B5EF4-FFF2-40B4-BE49-F238E27FC236}">
                <a16:creationId xmlns:a16="http://schemas.microsoft.com/office/drawing/2014/main" id="{9780FFCA-0B7E-3148-9555-F4500BE8E253}"/>
              </a:ext>
            </a:extLst>
          </p:cNvPr>
          <p:cNvSpPr/>
          <p:nvPr userDrawn="1"/>
        </p:nvSpPr>
        <p:spPr>
          <a:xfrm>
            <a:off x="465024" y="485775"/>
            <a:ext cx="1876550" cy="848138"/>
          </a:xfrm>
          <a:custGeom>
            <a:avLst/>
            <a:gdLst>
              <a:gd name="connsiteX0" fmla="*/ 738002 w 1876550"/>
              <a:gd name="connsiteY0" fmla="*/ 525573 h 848138"/>
              <a:gd name="connsiteX1" fmla="*/ 700955 w 1876550"/>
              <a:gd name="connsiteY1" fmla="*/ 535046 h 848138"/>
              <a:gd name="connsiteX2" fmla="*/ 675053 w 1876550"/>
              <a:gd name="connsiteY2" fmla="*/ 561785 h 848138"/>
              <a:gd name="connsiteX3" fmla="*/ 665580 w 1876550"/>
              <a:gd name="connsiteY3" fmla="*/ 603017 h 848138"/>
              <a:gd name="connsiteX4" fmla="*/ 675053 w 1876550"/>
              <a:gd name="connsiteY4" fmla="*/ 643688 h 848138"/>
              <a:gd name="connsiteX5" fmla="*/ 700955 w 1876550"/>
              <a:gd name="connsiteY5" fmla="*/ 670426 h 848138"/>
              <a:gd name="connsiteX6" fmla="*/ 738002 w 1876550"/>
              <a:gd name="connsiteY6" fmla="*/ 679900 h 848138"/>
              <a:gd name="connsiteX7" fmla="*/ 775603 w 1876550"/>
              <a:gd name="connsiteY7" fmla="*/ 670426 h 848138"/>
              <a:gd name="connsiteX8" fmla="*/ 801512 w 1876550"/>
              <a:gd name="connsiteY8" fmla="*/ 643688 h 848138"/>
              <a:gd name="connsiteX9" fmla="*/ 810977 w 1876550"/>
              <a:gd name="connsiteY9" fmla="*/ 603017 h 848138"/>
              <a:gd name="connsiteX10" fmla="*/ 801512 w 1876550"/>
              <a:gd name="connsiteY10" fmla="*/ 561785 h 848138"/>
              <a:gd name="connsiteX11" fmla="*/ 775603 w 1876550"/>
              <a:gd name="connsiteY11" fmla="*/ 535046 h 848138"/>
              <a:gd name="connsiteX12" fmla="*/ 738002 w 1876550"/>
              <a:gd name="connsiteY12" fmla="*/ 525573 h 848138"/>
              <a:gd name="connsiteX13" fmla="*/ 1371202 w 1876550"/>
              <a:gd name="connsiteY13" fmla="*/ 525569 h 848138"/>
              <a:gd name="connsiteX14" fmla="*/ 1334422 w 1876550"/>
              <a:gd name="connsiteY14" fmla="*/ 535042 h 848138"/>
              <a:gd name="connsiteX15" fmla="*/ 1308798 w 1876550"/>
              <a:gd name="connsiteY15" fmla="*/ 561780 h 848138"/>
              <a:gd name="connsiteX16" fmla="*/ 1299340 w 1876550"/>
              <a:gd name="connsiteY16" fmla="*/ 603013 h 848138"/>
              <a:gd name="connsiteX17" fmla="*/ 1308798 w 1876550"/>
              <a:gd name="connsiteY17" fmla="*/ 643684 h 848138"/>
              <a:gd name="connsiteX18" fmla="*/ 1334422 w 1876550"/>
              <a:gd name="connsiteY18" fmla="*/ 670422 h 848138"/>
              <a:gd name="connsiteX19" fmla="*/ 1371202 w 1876550"/>
              <a:gd name="connsiteY19" fmla="*/ 679895 h 848138"/>
              <a:gd name="connsiteX20" fmla="*/ 1407974 w 1876550"/>
              <a:gd name="connsiteY20" fmla="*/ 670422 h 848138"/>
              <a:gd name="connsiteX21" fmla="*/ 1433607 w 1876550"/>
              <a:gd name="connsiteY21" fmla="*/ 643684 h 848138"/>
              <a:gd name="connsiteX22" fmla="*/ 1443064 w 1876550"/>
              <a:gd name="connsiteY22" fmla="*/ 603013 h 848138"/>
              <a:gd name="connsiteX23" fmla="*/ 1433607 w 1876550"/>
              <a:gd name="connsiteY23" fmla="*/ 561780 h 848138"/>
              <a:gd name="connsiteX24" fmla="*/ 1407974 w 1876550"/>
              <a:gd name="connsiteY24" fmla="*/ 535042 h 848138"/>
              <a:gd name="connsiteX25" fmla="*/ 1371202 w 1876550"/>
              <a:gd name="connsiteY25" fmla="*/ 525569 h 848138"/>
              <a:gd name="connsiteX26" fmla="*/ 918163 w 1876550"/>
              <a:gd name="connsiteY26" fmla="*/ 463734 h 848138"/>
              <a:gd name="connsiteX27" fmla="*/ 994517 w 1876550"/>
              <a:gd name="connsiteY27" fmla="*/ 463734 h 848138"/>
              <a:gd name="connsiteX28" fmla="*/ 994517 w 1876550"/>
              <a:gd name="connsiteY28" fmla="*/ 621407 h 848138"/>
              <a:gd name="connsiteX29" fmla="*/ 1009540 w 1876550"/>
              <a:gd name="connsiteY29" fmla="*/ 665134 h 848138"/>
              <a:gd name="connsiteX30" fmla="*/ 1049658 w 1876550"/>
              <a:gd name="connsiteY30" fmla="*/ 679920 h 848138"/>
              <a:gd name="connsiteX31" fmla="*/ 1090054 w 1876550"/>
              <a:gd name="connsiteY31" fmla="*/ 665134 h 848138"/>
              <a:gd name="connsiteX32" fmla="*/ 1104825 w 1876550"/>
              <a:gd name="connsiteY32" fmla="*/ 621407 h 848138"/>
              <a:gd name="connsiteX33" fmla="*/ 1104825 w 1876550"/>
              <a:gd name="connsiteY33" fmla="*/ 463734 h 848138"/>
              <a:gd name="connsiteX34" fmla="*/ 1181139 w 1876550"/>
              <a:gd name="connsiteY34" fmla="*/ 463734 h 848138"/>
              <a:gd name="connsiteX35" fmla="*/ 1181139 w 1876550"/>
              <a:gd name="connsiteY35" fmla="*/ 629767 h 848138"/>
              <a:gd name="connsiteX36" fmla="*/ 1164426 w 1876550"/>
              <a:gd name="connsiteY36" fmla="*/ 692164 h 848138"/>
              <a:gd name="connsiteX37" fmla="*/ 1118189 w 1876550"/>
              <a:gd name="connsiteY37" fmla="*/ 733395 h 848138"/>
              <a:gd name="connsiteX38" fmla="*/ 1049658 w 1876550"/>
              <a:gd name="connsiteY38" fmla="*/ 747882 h 848138"/>
              <a:gd name="connsiteX39" fmla="*/ 954382 w 1876550"/>
              <a:gd name="connsiteY39" fmla="*/ 716391 h 848138"/>
              <a:gd name="connsiteX40" fmla="*/ 918163 w 1876550"/>
              <a:gd name="connsiteY40" fmla="*/ 629767 h 848138"/>
              <a:gd name="connsiteX41" fmla="*/ 576019 w 1876550"/>
              <a:gd name="connsiteY41" fmla="*/ 463506 h 848138"/>
              <a:gd name="connsiteX42" fmla="*/ 576019 w 1876550"/>
              <a:gd name="connsiteY42" fmla="*/ 537098 h 848138"/>
              <a:gd name="connsiteX43" fmla="*/ 490240 w 1876550"/>
              <a:gd name="connsiteY43" fmla="*/ 578745 h 848138"/>
              <a:gd name="connsiteX44" fmla="*/ 477907 w 1876550"/>
              <a:gd name="connsiteY44" fmla="*/ 624867 h 848138"/>
              <a:gd name="connsiteX45" fmla="*/ 477907 w 1876550"/>
              <a:gd name="connsiteY45" fmla="*/ 742349 h 848138"/>
              <a:gd name="connsiteX46" fmla="*/ 401584 w 1876550"/>
              <a:gd name="connsiteY46" fmla="*/ 742349 h 848138"/>
              <a:gd name="connsiteX47" fmla="*/ 401584 w 1876550"/>
              <a:gd name="connsiteY47" fmla="*/ 463781 h 848138"/>
              <a:gd name="connsiteX48" fmla="*/ 464713 w 1876550"/>
              <a:gd name="connsiteY48" fmla="*/ 463781 h 848138"/>
              <a:gd name="connsiteX49" fmla="*/ 476655 w 1876550"/>
              <a:gd name="connsiteY49" fmla="*/ 503633 h 848138"/>
              <a:gd name="connsiteX50" fmla="*/ 576019 w 1876550"/>
              <a:gd name="connsiteY50" fmla="*/ 463506 h 848138"/>
              <a:gd name="connsiteX51" fmla="*/ 738002 w 1876550"/>
              <a:gd name="connsiteY51" fmla="*/ 458164 h 848138"/>
              <a:gd name="connsiteX52" fmla="*/ 814884 w 1876550"/>
              <a:gd name="connsiteY52" fmla="*/ 476265 h 848138"/>
              <a:gd name="connsiteX53" fmla="*/ 868368 w 1876550"/>
              <a:gd name="connsiteY53" fmla="*/ 526978 h 848138"/>
              <a:gd name="connsiteX54" fmla="*/ 887883 w 1876550"/>
              <a:gd name="connsiteY54" fmla="*/ 603017 h 848138"/>
              <a:gd name="connsiteX55" fmla="*/ 868368 w 1876550"/>
              <a:gd name="connsiteY55" fmla="*/ 679062 h 848138"/>
              <a:gd name="connsiteX56" fmla="*/ 814884 w 1876550"/>
              <a:gd name="connsiteY56" fmla="*/ 729768 h 848138"/>
              <a:gd name="connsiteX57" fmla="*/ 738002 w 1876550"/>
              <a:gd name="connsiteY57" fmla="*/ 747869 h 848138"/>
              <a:gd name="connsiteX58" fmla="*/ 661396 w 1876550"/>
              <a:gd name="connsiteY58" fmla="*/ 729768 h 848138"/>
              <a:gd name="connsiteX59" fmla="*/ 608188 w 1876550"/>
              <a:gd name="connsiteY59" fmla="*/ 679062 h 848138"/>
              <a:gd name="connsiteX60" fmla="*/ 588689 w 1876550"/>
              <a:gd name="connsiteY60" fmla="*/ 603017 h 848138"/>
              <a:gd name="connsiteX61" fmla="*/ 608188 w 1876550"/>
              <a:gd name="connsiteY61" fmla="*/ 526978 h 848138"/>
              <a:gd name="connsiteX62" fmla="*/ 661396 w 1876550"/>
              <a:gd name="connsiteY62" fmla="*/ 476265 h 848138"/>
              <a:gd name="connsiteX63" fmla="*/ 738002 w 1876550"/>
              <a:gd name="connsiteY63" fmla="*/ 458164 h 848138"/>
              <a:gd name="connsiteX64" fmla="*/ 1381788 w 1876550"/>
              <a:gd name="connsiteY64" fmla="*/ 458159 h 848138"/>
              <a:gd name="connsiteX65" fmla="*/ 1450311 w 1876550"/>
              <a:gd name="connsiteY65" fmla="*/ 476261 h 848138"/>
              <a:gd name="connsiteX66" fmla="*/ 1500740 w 1876550"/>
              <a:gd name="connsiteY66" fmla="*/ 526975 h 848138"/>
              <a:gd name="connsiteX67" fmla="*/ 1519963 w 1876550"/>
              <a:gd name="connsiteY67" fmla="*/ 603013 h 848138"/>
              <a:gd name="connsiteX68" fmla="*/ 1500740 w 1876550"/>
              <a:gd name="connsiteY68" fmla="*/ 679059 h 848138"/>
              <a:gd name="connsiteX69" fmla="*/ 1450311 w 1876550"/>
              <a:gd name="connsiteY69" fmla="*/ 729763 h 848138"/>
              <a:gd name="connsiteX70" fmla="*/ 1381788 w 1876550"/>
              <a:gd name="connsiteY70" fmla="*/ 747865 h 848138"/>
              <a:gd name="connsiteX71" fmla="*/ 1319392 w 1876550"/>
              <a:gd name="connsiteY71" fmla="*/ 730316 h 848138"/>
              <a:gd name="connsiteX72" fmla="*/ 1304906 w 1876550"/>
              <a:gd name="connsiteY72" fmla="*/ 719120 h 848138"/>
              <a:gd name="connsiteX73" fmla="*/ 1304906 w 1876550"/>
              <a:gd name="connsiteY73" fmla="*/ 848138 h 848138"/>
              <a:gd name="connsiteX74" fmla="*/ 1228576 w 1876550"/>
              <a:gd name="connsiteY74" fmla="*/ 848138 h 848138"/>
              <a:gd name="connsiteX75" fmla="*/ 1228576 w 1876550"/>
              <a:gd name="connsiteY75" fmla="*/ 463733 h 848138"/>
              <a:gd name="connsiteX76" fmla="*/ 1282628 w 1876550"/>
              <a:gd name="connsiteY76" fmla="*/ 463733 h 848138"/>
              <a:gd name="connsiteX77" fmla="*/ 1296805 w 1876550"/>
              <a:gd name="connsiteY77" fmla="*/ 492104 h 848138"/>
              <a:gd name="connsiteX78" fmla="*/ 1316605 w 1876550"/>
              <a:gd name="connsiteY78" fmla="*/ 476261 h 848138"/>
              <a:gd name="connsiteX79" fmla="*/ 1381788 w 1876550"/>
              <a:gd name="connsiteY79" fmla="*/ 458159 h 848138"/>
              <a:gd name="connsiteX80" fmla="*/ 186101 w 1876550"/>
              <a:gd name="connsiteY80" fmla="*/ 380162 h 848138"/>
              <a:gd name="connsiteX81" fmla="*/ 273277 w 1876550"/>
              <a:gd name="connsiteY81" fmla="*/ 397978 h 848138"/>
              <a:gd name="connsiteX82" fmla="*/ 332895 w 1876550"/>
              <a:gd name="connsiteY82" fmla="*/ 444775 h 848138"/>
              <a:gd name="connsiteX83" fmla="*/ 361022 w 1876550"/>
              <a:gd name="connsiteY83" fmla="*/ 507172 h 848138"/>
              <a:gd name="connsiteX84" fmla="*/ 279696 w 1876550"/>
              <a:gd name="connsiteY84" fmla="*/ 507172 h 848138"/>
              <a:gd name="connsiteX85" fmla="*/ 263821 w 1876550"/>
              <a:gd name="connsiteY85" fmla="*/ 480995 h 848138"/>
              <a:gd name="connsiteX86" fmla="*/ 232606 w 1876550"/>
              <a:gd name="connsiteY86" fmla="*/ 459822 h 848138"/>
              <a:gd name="connsiteX87" fmla="*/ 186653 w 1876550"/>
              <a:gd name="connsiteY87" fmla="*/ 451462 h 848138"/>
              <a:gd name="connsiteX88" fmla="*/ 131220 w 1876550"/>
              <a:gd name="connsiteY88" fmla="*/ 465396 h 848138"/>
              <a:gd name="connsiteX89" fmla="*/ 93327 w 1876550"/>
              <a:gd name="connsiteY89" fmla="*/ 504401 h 848138"/>
              <a:gd name="connsiteX90" fmla="*/ 79686 w 1876550"/>
              <a:gd name="connsiteY90" fmla="*/ 564003 h 848138"/>
              <a:gd name="connsiteX91" fmla="*/ 93603 w 1876550"/>
              <a:gd name="connsiteY91" fmla="*/ 624174 h 848138"/>
              <a:gd name="connsiteX92" fmla="*/ 132324 w 1876550"/>
              <a:gd name="connsiteY92" fmla="*/ 663725 h 848138"/>
              <a:gd name="connsiteX93" fmla="*/ 188871 w 1876550"/>
              <a:gd name="connsiteY93" fmla="*/ 677658 h 848138"/>
              <a:gd name="connsiteX94" fmla="*/ 240413 w 1876550"/>
              <a:gd name="connsiteY94" fmla="*/ 668478 h 848138"/>
              <a:gd name="connsiteX95" fmla="*/ 274943 w 1876550"/>
              <a:gd name="connsiteY95" fmla="*/ 640886 h 848138"/>
              <a:gd name="connsiteX96" fmla="*/ 287276 w 1876550"/>
              <a:gd name="connsiteY96" fmla="*/ 608575 h 848138"/>
              <a:gd name="connsiteX97" fmla="*/ 167146 w 1876550"/>
              <a:gd name="connsiteY97" fmla="*/ 608575 h 848138"/>
              <a:gd name="connsiteX98" fmla="*/ 167146 w 1876550"/>
              <a:gd name="connsiteY98" fmla="*/ 542832 h 848138"/>
              <a:gd name="connsiteX99" fmla="*/ 367717 w 1876550"/>
              <a:gd name="connsiteY99" fmla="*/ 542832 h 848138"/>
              <a:gd name="connsiteX100" fmla="*/ 369106 w 1876550"/>
              <a:gd name="connsiteY100" fmla="*/ 558154 h 848138"/>
              <a:gd name="connsiteX101" fmla="*/ 369366 w 1876550"/>
              <a:gd name="connsiteY101" fmla="*/ 574030 h 848138"/>
              <a:gd name="connsiteX102" fmla="*/ 345422 w 1876550"/>
              <a:gd name="connsiteY102" fmla="*/ 667071 h 848138"/>
              <a:gd name="connsiteX103" fmla="*/ 280533 w 1876550"/>
              <a:gd name="connsiteY103" fmla="*/ 726967 h 848138"/>
              <a:gd name="connsiteX104" fmla="*/ 187766 w 1876550"/>
              <a:gd name="connsiteY104" fmla="*/ 747863 h 848138"/>
              <a:gd name="connsiteX105" fmla="*/ 113395 w 1876550"/>
              <a:gd name="connsiteY105" fmla="*/ 734205 h 848138"/>
              <a:gd name="connsiteX106" fmla="*/ 53760 w 1876550"/>
              <a:gd name="connsiteY106" fmla="*/ 695491 h 848138"/>
              <a:gd name="connsiteX107" fmla="*/ 14218 w 1876550"/>
              <a:gd name="connsiteY107" fmla="*/ 636995 h 848138"/>
              <a:gd name="connsiteX108" fmla="*/ 0 w 1876550"/>
              <a:gd name="connsiteY108" fmla="*/ 564003 h 848138"/>
              <a:gd name="connsiteX109" fmla="*/ 13934 w 1876550"/>
              <a:gd name="connsiteY109" fmla="*/ 491020 h 848138"/>
              <a:gd name="connsiteX110" fmla="*/ 52948 w 1876550"/>
              <a:gd name="connsiteY110" fmla="*/ 432809 h 848138"/>
              <a:gd name="connsiteX111" fmla="*/ 111988 w 1876550"/>
              <a:gd name="connsiteY111" fmla="*/ 394079 h 848138"/>
              <a:gd name="connsiteX112" fmla="*/ 186101 w 1876550"/>
              <a:gd name="connsiteY112" fmla="*/ 380162 h 848138"/>
              <a:gd name="connsiteX113" fmla="*/ 1100933 w 1876550"/>
              <a:gd name="connsiteY113" fmla="*/ 140027 h 848138"/>
              <a:gd name="connsiteX114" fmla="*/ 1064161 w 1876550"/>
              <a:gd name="connsiteY114" fmla="*/ 149501 h 848138"/>
              <a:gd name="connsiteX115" fmla="*/ 1038537 w 1876550"/>
              <a:gd name="connsiteY115" fmla="*/ 176238 h 848138"/>
              <a:gd name="connsiteX116" fmla="*/ 1029064 w 1876550"/>
              <a:gd name="connsiteY116" fmla="*/ 217470 h 848138"/>
              <a:gd name="connsiteX117" fmla="*/ 1038537 w 1876550"/>
              <a:gd name="connsiteY117" fmla="*/ 258134 h 848138"/>
              <a:gd name="connsiteX118" fmla="*/ 1064161 w 1876550"/>
              <a:gd name="connsiteY118" fmla="*/ 284880 h 848138"/>
              <a:gd name="connsiteX119" fmla="*/ 1100933 w 1876550"/>
              <a:gd name="connsiteY119" fmla="*/ 294353 h 848138"/>
              <a:gd name="connsiteX120" fmla="*/ 1137705 w 1876550"/>
              <a:gd name="connsiteY120" fmla="*/ 284880 h 848138"/>
              <a:gd name="connsiteX121" fmla="*/ 1163330 w 1876550"/>
              <a:gd name="connsiteY121" fmla="*/ 258134 h 848138"/>
              <a:gd name="connsiteX122" fmla="*/ 1172803 w 1876550"/>
              <a:gd name="connsiteY122" fmla="*/ 217470 h 848138"/>
              <a:gd name="connsiteX123" fmla="*/ 1163330 w 1876550"/>
              <a:gd name="connsiteY123" fmla="*/ 176238 h 848138"/>
              <a:gd name="connsiteX124" fmla="*/ 1137705 w 1876550"/>
              <a:gd name="connsiteY124" fmla="*/ 149501 h 848138"/>
              <a:gd name="connsiteX125" fmla="*/ 1100933 w 1876550"/>
              <a:gd name="connsiteY125" fmla="*/ 140027 h 848138"/>
              <a:gd name="connsiteX126" fmla="*/ 473731 w 1876550"/>
              <a:gd name="connsiteY126" fmla="*/ 135036 h 848138"/>
              <a:gd name="connsiteX127" fmla="*/ 440022 w 1876550"/>
              <a:gd name="connsiteY127" fmla="*/ 142552 h 848138"/>
              <a:gd name="connsiteX128" fmla="*/ 415495 w 1876550"/>
              <a:gd name="connsiteY128" fmla="*/ 167900 h 848138"/>
              <a:gd name="connsiteX129" fmla="*/ 408963 w 1876550"/>
              <a:gd name="connsiteY129" fmla="*/ 187408 h 848138"/>
              <a:gd name="connsiteX130" fmla="*/ 539621 w 1876550"/>
              <a:gd name="connsiteY130" fmla="*/ 187408 h 848138"/>
              <a:gd name="connsiteX131" fmla="*/ 531099 w 1876550"/>
              <a:gd name="connsiteY131" fmla="*/ 163440 h 848138"/>
              <a:gd name="connsiteX132" fmla="*/ 506578 w 1876550"/>
              <a:gd name="connsiteY132" fmla="*/ 142000 h 848138"/>
              <a:gd name="connsiteX133" fmla="*/ 473731 w 1876550"/>
              <a:gd name="connsiteY133" fmla="*/ 135036 h 848138"/>
              <a:gd name="connsiteX134" fmla="*/ 1288935 w 1876550"/>
              <a:gd name="connsiteY134" fmla="*/ 78176 h 848138"/>
              <a:gd name="connsiteX135" fmla="*/ 1365281 w 1876550"/>
              <a:gd name="connsiteY135" fmla="*/ 78176 h 848138"/>
              <a:gd name="connsiteX136" fmla="*/ 1365281 w 1876550"/>
              <a:gd name="connsiteY136" fmla="*/ 235850 h 848138"/>
              <a:gd name="connsiteX137" fmla="*/ 1380312 w 1876550"/>
              <a:gd name="connsiteY137" fmla="*/ 279576 h 848138"/>
              <a:gd name="connsiteX138" fmla="*/ 1420431 w 1876550"/>
              <a:gd name="connsiteY138" fmla="*/ 294363 h 848138"/>
              <a:gd name="connsiteX139" fmla="*/ 1460827 w 1876550"/>
              <a:gd name="connsiteY139" fmla="*/ 279576 h 848138"/>
              <a:gd name="connsiteX140" fmla="*/ 1475589 w 1876550"/>
              <a:gd name="connsiteY140" fmla="*/ 235850 h 848138"/>
              <a:gd name="connsiteX141" fmla="*/ 1475589 w 1876550"/>
              <a:gd name="connsiteY141" fmla="*/ 78176 h 848138"/>
              <a:gd name="connsiteX142" fmla="*/ 1551902 w 1876550"/>
              <a:gd name="connsiteY142" fmla="*/ 78176 h 848138"/>
              <a:gd name="connsiteX143" fmla="*/ 1551902 w 1876550"/>
              <a:gd name="connsiteY143" fmla="*/ 244210 h 848138"/>
              <a:gd name="connsiteX144" fmla="*/ 1535190 w 1876550"/>
              <a:gd name="connsiteY144" fmla="*/ 306607 h 848138"/>
              <a:gd name="connsiteX145" fmla="*/ 1488953 w 1876550"/>
              <a:gd name="connsiteY145" fmla="*/ 347839 h 848138"/>
              <a:gd name="connsiteX146" fmla="*/ 1420431 w 1876550"/>
              <a:gd name="connsiteY146" fmla="*/ 362325 h 848138"/>
              <a:gd name="connsiteX147" fmla="*/ 1325163 w 1876550"/>
              <a:gd name="connsiteY147" fmla="*/ 330834 h 848138"/>
              <a:gd name="connsiteX148" fmla="*/ 1288935 w 1876550"/>
              <a:gd name="connsiteY148" fmla="*/ 244210 h 848138"/>
              <a:gd name="connsiteX149" fmla="*/ 475942 w 1876550"/>
              <a:gd name="connsiteY149" fmla="*/ 72641 h 848138"/>
              <a:gd name="connsiteX150" fmla="*/ 547811 w 1876550"/>
              <a:gd name="connsiteY150" fmla="*/ 90189 h 848138"/>
              <a:gd name="connsiteX151" fmla="*/ 596842 w 1876550"/>
              <a:gd name="connsiteY151" fmla="*/ 139773 h 848138"/>
              <a:gd name="connsiteX152" fmla="*/ 614668 w 1876550"/>
              <a:gd name="connsiteY152" fmla="*/ 216380 h 848138"/>
              <a:gd name="connsiteX153" fmla="*/ 613555 w 1876550"/>
              <a:gd name="connsiteY153" fmla="*/ 238666 h 848138"/>
              <a:gd name="connsiteX154" fmla="*/ 407865 w 1876550"/>
              <a:gd name="connsiteY154" fmla="*/ 238666 h 848138"/>
              <a:gd name="connsiteX155" fmla="*/ 415780 w 1876550"/>
              <a:gd name="connsiteY155" fmla="*/ 263738 h 848138"/>
              <a:gd name="connsiteX156" fmla="*/ 441965 w 1876550"/>
              <a:gd name="connsiteY156" fmla="*/ 289923 h 848138"/>
              <a:gd name="connsiteX157" fmla="*/ 479288 w 1876550"/>
              <a:gd name="connsiteY157" fmla="*/ 298268 h 848138"/>
              <a:gd name="connsiteX158" fmla="*/ 507432 w 1876550"/>
              <a:gd name="connsiteY158" fmla="*/ 293824 h 848138"/>
              <a:gd name="connsiteX159" fmla="*/ 526378 w 1876550"/>
              <a:gd name="connsiteY159" fmla="*/ 281279 h 848138"/>
              <a:gd name="connsiteX160" fmla="*/ 536681 w 1876550"/>
              <a:gd name="connsiteY160" fmla="*/ 263161 h 848138"/>
              <a:gd name="connsiteX161" fmla="*/ 612442 w 1876550"/>
              <a:gd name="connsiteY161" fmla="*/ 263161 h 848138"/>
              <a:gd name="connsiteX162" fmla="*/ 589588 w 1876550"/>
              <a:gd name="connsiteY162" fmla="*/ 314995 h 848138"/>
              <a:gd name="connsiteX163" fmla="*/ 543090 w 1876550"/>
              <a:gd name="connsiteY163" fmla="*/ 349817 h 848138"/>
              <a:gd name="connsiteX164" fmla="*/ 479288 w 1876550"/>
              <a:gd name="connsiteY164" fmla="*/ 362345 h 848138"/>
              <a:gd name="connsiteX165" fmla="*/ 403795 w 1876550"/>
              <a:gd name="connsiteY165" fmla="*/ 344228 h 848138"/>
              <a:gd name="connsiteX166" fmla="*/ 351701 w 1876550"/>
              <a:gd name="connsiteY166" fmla="*/ 293547 h 848138"/>
              <a:gd name="connsiteX167" fmla="*/ 332770 w 1876550"/>
              <a:gd name="connsiteY167" fmla="*/ 217493 h 848138"/>
              <a:gd name="connsiteX168" fmla="*/ 351148 w 1876550"/>
              <a:gd name="connsiteY168" fmla="*/ 141438 h 848138"/>
              <a:gd name="connsiteX169" fmla="*/ 401846 w 1876550"/>
              <a:gd name="connsiteY169" fmla="*/ 90741 h 848138"/>
              <a:gd name="connsiteX170" fmla="*/ 475942 w 1876550"/>
              <a:gd name="connsiteY170" fmla="*/ 72641 h 848138"/>
              <a:gd name="connsiteX171" fmla="*/ 1089803 w 1876550"/>
              <a:gd name="connsiteY171" fmla="*/ 72618 h 848138"/>
              <a:gd name="connsiteX172" fmla="*/ 1155262 w 1876550"/>
              <a:gd name="connsiteY172" fmla="*/ 90720 h 848138"/>
              <a:gd name="connsiteX173" fmla="*/ 1175176 w 1876550"/>
              <a:gd name="connsiteY173" fmla="*/ 106855 h 848138"/>
              <a:gd name="connsiteX174" fmla="*/ 1189515 w 1876550"/>
              <a:gd name="connsiteY174" fmla="*/ 78182 h 848138"/>
              <a:gd name="connsiteX175" fmla="*/ 1243560 w 1876550"/>
              <a:gd name="connsiteY175" fmla="*/ 78182 h 848138"/>
              <a:gd name="connsiteX176" fmla="*/ 1243560 w 1876550"/>
              <a:gd name="connsiteY176" fmla="*/ 356750 h 848138"/>
              <a:gd name="connsiteX177" fmla="*/ 1189515 w 1876550"/>
              <a:gd name="connsiteY177" fmla="*/ 356750 h 848138"/>
              <a:gd name="connsiteX178" fmla="*/ 1175176 w 1876550"/>
              <a:gd name="connsiteY178" fmla="*/ 328062 h 848138"/>
              <a:gd name="connsiteX179" fmla="*/ 1155262 w 1876550"/>
              <a:gd name="connsiteY179" fmla="*/ 344205 h 848138"/>
              <a:gd name="connsiteX180" fmla="*/ 1089803 w 1876550"/>
              <a:gd name="connsiteY180" fmla="*/ 362315 h 848138"/>
              <a:gd name="connsiteX181" fmla="*/ 1021824 w 1876550"/>
              <a:gd name="connsiteY181" fmla="*/ 344205 h 848138"/>
              <a:gd name="connsiteX182" fmla="*/ 971420 w 1876550"/>
              <a:gd name="connsiteY182" fmla="*/ 293516 h 848138"/>
              <a:gd name="connsiteX183" fmla="*/ 952197 w 1876550"/>
              <a:gd name="connsiteY183" fmla="*/ 217470 h 848138"/>
              <a:gd name="connsiteX184" fmla="*/ 971420 w 1876550"/>
              <a:gd name="connsiteY184" fmla="*/ 141417 h 848138"/>
              <a:gd name="connsiteX185" fmla="*/ 1021824 w 1876550"/>
              <a:gd name="connsiteY185" fmla="*/ 90720 h 848138"/>
              <a:gd name="connsiteX186" fmla="*/ 1089803 w 1876550"/>
              <a:gd name="connsiteY186" fmla="*/ 72618 h 848138"/>
              <a:gd name="connsiteX187" fmla="*/ 802554 w 1876550"/>
              <a:gd name="connsiteY187" fmla="*/ 72613 h 848138"/>
              <a:gd name="connsiteX188" fmla="*/ 863008 w 1876550"/>
              <a:gd name="connsiteY188" fmla="*/ 86546 h 848138"/>
              <a:gd name="connsiteX189" fmla="*/ 905069 w 1876550"/>
              <a:gd name="connsiteY189" fmla="*/ 126657 h 848138"/>
              <a:gd name="connsiteX190" fmla="*/ 920667 w 1876550"/>
              <a:gd name="connsiteY190" fmla="*/ 189062 h 848138"/>
              <a:gd name="connsiteX191" fmla="*/ 920667 w 1876550"/>
              <a:gd name="connsiteY191" fmla="*/ 356745 h 848138"/>
              <a:gd name="connsiteX192" fmla="*/ 844338 w 1876550"/>
              <a:gd name="connsiteY192" fmla="*/ 356745 h 848138"/>
              <a:gd name="connsiteX193" fmla="*/ 844338 w 1876550"/>
              <a:gd name="connsiteY193" fmla="*/ 200753 h 848138"/>
              <a:gd name="connsiteX194" fmla="*/ 837099 w 1876550"/>
              <a:gd name="connsiteY194" fmla="*/ 168166 h 848138"/>
              <a:gd name="connsiteX195" fmla="*/ 816771 w 1876550"/>
              <a:gd name="connsiteY195" fmla="*/ 147270 h 848138"/>
              <a:gd name="connsiteX196" fmla="*/ 786393 w 1876550"/>
              <a:gd name="connsiteY196" fmla="*/ 140023 h 848138"/>
              <a:gd name="connsiteX197" fmla="*/ 743764 w 1876550"/>
              <a:gd name="connsiteY197" fmla="*/ 155898 h 848138"/>
              <a:gd name="connsiteX198" fmla="*/ 727904 w 1876550"/>
              <a:gd name="connsiteY198" fmla="*/ 200753 h 848138"/>
              <a:gd name="connsiteX199" fmla="*/ 727904 w 1876550"/>
              <a:gd name="connsiteY199" fmla="*/ 356745 h 848138"/>
              <a:gd name="connsiteX200" fmla="*/ 651575 w 1876550"/>
              <a:gd name="connsiteY200" fmla="*/ 356745 h 848138"/>
              <a:gd name="connsiteX201" fmla="*/ 651575 w 1876550"/>
              <a:gd name="connsiteY201" fmla="*/ 78186 h 848138"/>
              <a:gd name="connsiteX202" fmla="*/ 705627 w 1876550"/>
              <a:gd name="connsiteY202" fmla="*/ 78186 h 848138"/>
              <a:gd name="connsiteX203" fmla="*/ 719935 w 1876550"/>
              <a:gd name="connsiteY203" fmla="*/ 106817 h 848138"/>
              <a:gd name="connsiteX204" fmla="*/ 747404 w 1876550"/>
              <a:gd name="connsiteY204" fmla="*/ 85433 h 848138"/>
              <a:gd name="connsiteX205" fmla="*/ 802554 w 1876550"/>
              <a:gd name="connsiteY205" fmla="*/ 72613 h 848138"/>
              <a:gd name="connsiteX206" fmla="*/ 99221 w 1876550"/>
              <a:gd name="connsiteY206" fmla="*/ 69274 h 848138"/>
              <a:gd name="connsiteX207" fmla="*/ 99221 w 1876550"/>
              <a:gd name="connsiteY207" fmla="*/ 173455 h 848138"/>
              <a:gd name="connsiteX208" fmla="*/ 174975 w 1876550"/>
              <a:gd name="connsiteY208" fmla="*/ 173455 h 848138"/>
              <a:gd name="connsiteX209" fmla="*/ 216476 w 1876550"/>
              <a:gd name="connsiteY209" fmla="*/ 159538 h 848138"/>
              <a:gd name="connsiteX210" fmla="*/ 231245 w 1876550"/>
              <a:gd name="connsiteY210" fmla="*/ 121645 h 848138"/>
              <a:gd name="connsiteX211" fmla="*/ 216476 w 1876550"/>
              <a:gd name="connsiteY211" fmla="*/ 82932 h 848138"/>
              <a:gd name="connsiteX212" fmla="*/ 174975 w 1876550"/>
              <a:gd name="connsiteY212" fmla="*/ 69274 h 848138"/>
              <a:gd name="connsiteX213" fmla="*/ 21202 w 1876550"/>
              <a:gd name="connsiteY213" fmla="*/ 183 h 848138"/>
              <a:gd name="connsiteX214" fmla="*/ 172741 w 1876550"/>
              <a:gd name="connsiteY214" fmla="*/ 183 h 848138"/>
              <a:gd name="connsiteX215" fmla="*/ 273867 w 1876550"/>
              <a:gd name="connsiteY215" fmla="*/ 31949 h 848138"/>
              <a:gd name="connsiteX216" fmla="*/ 310354 w 1876550"/>
              <a:gd name="connsiteY216" fmla="*/ 120532 h 848138"/>
              <a:gd name="connsiteX217" fmla="*/ 273867 w 1876550"/>
              <a:gd name="connsiteY217" fmla="*/ 208277 h 848138"/>
              <a:gd name="connsiteX218" fmla="*/ 245878 w 1876550"/>
              <a:gd name="connsiteY218" fmla="*/ 226289 h 848138"/>
              <a:gd name="connsiteX219" fmla="*/ 321509 w 1876550"/>
              <a:gd name="connsiteY219" fmla="*/ 356753 h 848138"/>
              <a:gd name="connsiteX220" fmla="*/ 231815 w 1876550"/>
              <a:gd name="connsiteY220" fmla="*/ 356753 h 848138"/>
              <a:gd name="connsiteX221" fmla="*/ 170206 w 1876550"/>
              <a:gd name="connsiteY221" fmla="*/ 240312 h 848138"/>
              <a:gd name="connsiteX222" fmla="*/ 99221 w 1876550"/>
              <a:gd name="connsiteY222" fmla="*/ 240312 h 848138"/>
              <a:gd name="connsiteX223" fmla="*/ 99221 w 1876550"/>
              <a:gd name="connsiteY223" fmla="*/ 356753 h 848138"/>
              <a:gd name="connsiteX224" fmla="*/ 21202 w 1876550"/>
              <a:gd name="connsiteY224" fmla="*/ 356753 h 848138"/>
              <a:gd name="connsiteX225" fmla="*/ 1714417 w 1876550"/>
              <a:gd name="connsiteY225" fmla="*/ 148 h 848138"/>
              <a:gd name="connsiteX226" fmla="*/ 1790771 w 1876550"/>
              <a:gd name="connsiteY226" fmla="*/ 148 h 848138"/>
              <a:gd name="connsiteX227" fmla="*/ 1790771 w 1876550"/>
              <a:gd name="connsiteY227" fmla="*/ 78161 h 848138"/>
              <a:gd name="connsiteX228" fmla="*/ 1876323 w 1876550"/>
              <a:gd name="connsiteY228" fmla="*/ 78161 h 848138"/>
              <a:gd name="connsiteX229" fmla="*/ 1876323 w 1876550"/>
              <a:gd name="connsiteY229" fmla="*/ 141671 h 848138"/>
              <a:gd name="connsiteX230" fmla="*/ 1790771 w 1876550"/>
              <a:gd name="connsiteY230" fmla="*/ 141671 h 848138"/>
              <a:gd name="connsiteX231" fmla="*/ 1790771 w 1876550"/>
              <a:gd name="connsiteY231" fmla="*/ 246972 h 848138"/>
              <a:gd name="connsiteX232" fmla="*/ 1800229 w 1876550"/>
              <a:gd name="connsiteY232" fmla="*/ 277050 h 848138"/>
              <a:gd name="connsiteX233" fmla="*/ 1830314 w 1876550"/>
              <a:gd name="connsiteY233" fmla="*/ 286523 h 848138"/>
              <a:gd name="connsiteX234" fmla="*/ 1876550 w 1876550"/>
              <a:gd name="connsiteY234" fmla="*/ 286523 h 848138"/>
              <a:gd name="connsiteX235" fmla="*/ 1876550 w 1876550"/>
              <a:gd name="connsiteY235" fmla="*/ 356727 h 848138"/>
              <a:gd name="connsiteX236" fmla="*/ 1828079 w 1876550"/>
              <a:gd name="connsiteY236" fmla="*/ 356727 h 848138"/>
              <a:gd name="connsiteX237" fmla="*/ 1762904 w 1876550"/>
              <a:gd name="connsiteY237" fmla="*/ 345864 h 848138"/>
              <a:gd name="connsiteX238" fmla="*/ 1726124 w 1876550"/>
              <a:gd name="connsiteY238" fmla="*/ 311872 h 848138"/>
              <a:gd name="connsiteX239" fmla="*/ 1714417 w 1876550"/>
              <a:gd name="connsiteY239" fmla="*/ 253082 h 848138"/>
              <a:gd name="connsiteX240" fmla="*/ 1595217 w 1876550"/>
              <a:gd name="connsiteY240" fmla="*/ 0 h 848138"/>
              <a:gd name="connsiteX241" fmla="*/ 1671555 w 1876550"/>
              <a:gd name="connsiteY241" fmla="*/ 0 h 848138"/>
              <a:gd name="connsiteX242" fmla="*/ 1671555 w 1876550"/>
              <a:gd name="connsiteY242" fmla="*/ 356555 h 848138"/>
              <a:gd name="connsiteX243" fmla="*/ 1595217 w 1876550"/>
              <a:gd name="connsiteY243" fmla="*/ 356555 h 848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</a:cxnLst>
            <a:rect l="l" t="t" r="r" b="b"/>
            <a:pathLst>
              <a:path w="1876550" h="848138">
                <a:moveTo>
                  <a:pt x="738002" y="525573"/>
                </a:moveTo>
                <a:cubicBezTo>
                  <a:pt x="724247" y="525573"/>
                  <a:pt x="711898" y="528742"/>
                  <a:pt x="700955" y="535046"/>
                </a:cubicBezTo>
                <a:cubicBezTo>
                  <a:pt x="689978" y="541375"/>
                  <a:pt x="681358" y="550273"/>
                  <a:pt x="675053" y="561785"/>
                </a:cubicBezTo>
                <a:cubicBezTo>
                  <a:pt x="668733" y="573297"/>
                  <a:pt x="665580" y="587043"/>
                  <a:pt x="665580" y="603017"/>
                </a:cubicBezTo>
                <a:cubicBezTo>
                  <a:pt x="665580" y="618616"/>
                  <a:pt x="668733" y="632175"/>
                  <a:pt x="675053" y="643688"/>
                </a:cubicBezTo>
                <a:cubicBezTo>
                  <a:pt x="681358" y="655209"/>
                  <a:pt x="689978" y="664113"/>
                  <a:pt x="700955" y="670426"/>
                </a:cubicBezTo>
                <a:cubicBezTo>
                  <a:pt x="711898" y="676747"/>
                  <a:pt x="724247" y="679900"/>
                  <a:pt x="738002" y="679900"/>
                </a:cubicBezTo>
                <a:cubicBezTo>
                  <a:pt x="752115" y="679900"/>
                  <a:pt x="764651" y="676747"/>
                  <a:pt x="775603" y="670426"/>
                </a:cubicBezTo>
                <a:cubicBezTo>
                  <a:pt x="786555" y="664113"/>
                  <a:pt x="795199" y="655209"/>
                  <a:pt x="801512" y="643688"/>
                </a:cubicBezTo>
                <a:cubicBezTo>
                  <a:pt x="807816" y="632175"/>
                  <a:pt x="810977" y="618616"/>
                  <a:pt x="810977" y="603017"/>
                </a:cubicBezTo>
                <a:cubicBezTo>
                  <a:pt x="810977" y="587043"/>
                  <a:pt x="807816" y="573297"/>
                  <a:pt x="801512" y="561785"/>
                </a:cubicBezTo>
                <a:cubicBezTo>
                  <a:pt x="795199" y="550273"/>
                  <a:pt x="786555" y="541375"/>
                  <a:pt x="775603" y="535046"/>
                </a:cubicBezTo>
                <a:cubicBezTo>
                  <a:pt x="764651" y="528742"/>
                  <a:pt x="752115" y="525573"/>
                  <a:pt x="738002" y="525573"/>
                </a:cubicBezTo>
                <a:close/>
                <a:moveTo>
                  <a:pt x="1371202" y="525569"/>
                </a:moveTo>
                <a:cubicBezTo>
                  <a:pt x="1357447" y="525569"/>
                  <a:pt x="1345203" y="528737"/>
                  <a:pt x="1334422" y="535042"/>
                </a:cubicBezTo>
                <a:cubicBezTo>
                  <a:pt x="1323658" y="541371"/>
                  <a:pt x="1315103" y="550267"/>
                  <a:pt x="1308798" y="561780"/>
                </a:cubicBezTo>
                <a:cubicBezTo>
                  <a:pt x="1302485" y="573292"/>
                  <a:pt x="1299340" y="587040"/>
                  <a:pt x="1299340" y="603013"/>
                </a:cubicBezTo>
                <a:cubicBezTo>
                  <a:pt x="1299340" y="618612"/>
                  <a:pt x="1302485" y="632172"/>
                  <a:pt x="1308798" y="643684"/>
                </a:cubicBezTo>
                <a:cubicBezTo>
                  <a:pt x="1315103" y="655204"/>
                  <a:pt x="1323658" y="664109"/>
                  <a:pt x="1334422" y="670422"/>
                </a:cubicBezTo>
                <a:cubicBezTo>
                  <a:pt x="1345203" y="676743"/>
                  <a:pt x="1357447" y="679895"/>
                  <a:pt x="1371202" y="679895"/>
                </a:cubicBezTo>
                <a:cubicBezTo>
                  <a:pt x="1384940" y="679895"/>
                  <a:pt x="1397208" y="676743"/>
                  <a:pt x="1407974" y="670422"/>
                </a:cubicBezTo>
                <a:cubicBezTo>
                  <a:pt x="1418748" y="664109"/>
                  <a:pt x="1427277" y="655204"/>
                  <a:pt x="1433607" y="643684"/>
                </a:cubicBezTo>
                <a:cubicBezTo>
                  <a:pt x="1439912" y="632172"/>
                  <a:pt x="1443064" y="618612"/>
                  <a:pt x="1443064" y="603013"/>
                </a:cubicBezTo>
                <a:cubicBezTo>
                  <a:pt x="1443064" y="587040"/>
                  <a:pt x="1439912" y="573292"/>
                  <a:pt x="1433607" y="561780"/>
                </a:cubicBezTo>
                <a:cubicBezTo>
                  <a:pt x="1427277" y="550267"/>
                  <a:pt x="1418748" y="541371"/>
                  <a:pt x="1407974" y="535042"/>
                </a:cubicBezTo>
                <a:cubicBezTo>
                  <a:pt x="1397208" y="528737"/>
                  <a:pt x="1384940" y="525569"/>
                  <a:pt x="1371202" y="525569"/>
                </a:cubicBezTo>
                <a:close/>
                <a:moveTo>
                  <a:pt x="918163" y="463734"/>
                </a:moveTo>
                <a:lnTo>
                  <a:pt x="994517" y="463734"/>
                </a:lnTo>
                <a:lnTo>
                  <a:pt x="994517" y="621407"/>
                </a:lnTo>
                <a:cubicBezTo>
                  <a:pt x="994517" y="640727"/>
                  <a:pt x="999514" y="655302"/>
                  <a:pt x="1009540" y="665134"/>
                </a:cubicBezTo>
                <a:cubicBezTo>
                  <a:pt x="1019573" y="674997"/>
                  <a:pt x="1032946" y="679920"/>
                  <a:pt x="1049658" y="679920"/>
                </a:cubicBezTo>
                <a:cubicBezTo>
                  <a:pt x="1066744" y="679920"/>
                  <a:pt x="1080198" y="674997"/>
                  <a:pt x="1090054" y="665134"/>
                </a:cubicBezTo>
                <a:cubicBezTo>
                  <a:pt x="1099901" y="655302"/>
                  <a:pt x="1104825" y="640727"/>
                  <a:pt x="1104825" y="621407"/>
                </a:cubicBezTo>
                <a:lnTo>
                  <a:pt x="1104825" y="463734"/>
                </a:lnTo>
                <a:lnTo>
                  <a:pt x="1181139" y="463734"/>
                </a:lnTo>
                <a:lnTo>
                  <a:pt x="1181139" y="629767"/>
                </a:lnTo>
                <a:cubicBezTo>
                  <a:pt x="1181139" y="653547"/>
                  <a:pt x="1175565" y="674331"/>
                  <a:pt x="1164426" y="692164"/>
                </a:cubicBezTo>
                <a:cubicBezTo>
                  <a:pt x="1153287" y="709989"/>
                  <a:pt x="1137866" y="723736"/>
                  <a:pt x="1118189" y="733395"/>
                </a:cubicBezTo>
                <a:cubicBezTo>
                  <a:pt x="1098496" y="743039"/>
                  <a:pt x="1075640" y="747882"/>
                  <a:pt x="1049658" y="747882"/>
                </a:cubicBezTo>
                <a:cubicBezTo>
                  <a:pt x="1010279" y="747882"/>
                  <a:pt x="978512" y="737393"/>
                  <a:pt x="954382" y="716391"/>
                </a:cubicBezTo>
                <a:cubicBezTo>
                  <a:pt x="930252" y="695422"/>
                  <a:pt x="918163" y="666539"/>
                  <a:pt x="918163" y="629767"/>
                </a:cubicBezTo>
                <a:close/>
                <a:moveTo>
                  <a:pt x="576019" y="463506"/>
                </a:moveTo>
                <a:lnTo>
                  <a:pt x="576019" y="537098"/>
                </a:lnTo>
                <a:cubicBezTo>
                  <a:pt x="527052" y="537098"/>
                  <a:pt x="502516" y="558530"/>
                  <a:pt x="490240" y="578745"/>
                </a:cubicBezTo>
                <a:cubicBezTo>
                  <a:pt x="481823" y="592572"/>
                  <a:pt x="477907" y="608674"/>
                  <a:pt x="477907" y="624867"/>
                </a:cubicBezTo>
                <a:lnTo>
                  <a:pt x="477907" y="742349"/>
                </a:lnTo>
                <a:lnTo>
                  <a:pt x="401584" y="742349"/>
                </a:lnTo>
                <a:lnTo>
                  <a:pt x="401584" y="463781"/>
                </a:lnTo>
                <a:lnTo>
                  <a:pt x="464713" y="463781"/>
                </a:lnTo>
                <a:lnTo>
                  <a:pt x="476655" y="503633"/>
                </a:lnTo>
                <a:cubicBezTo>
                  <a:pt x="502589" y="481103"/>
                  <a:pt x="535705" y="463506"/>
                  <a:pt x="576019" y="463506"/>
                </a:cubicBezTo>
                <a:close/>
                <a:moveTo>
                  <a:pt x="738002" y="458164"/>
                </a:moveTo>
                <a:cubicBezTo>
                  <a:pt x="766592" y="458164"/>
                  <a:pt x="792217" y="464209"/>
                  <a:pt x="814884" y="476265"/>
                </a:cubicBezTo>
                <a:cubicBezTo>
                  <a:pt x="837536" y="488339"/>
                  <a:pt x="855352" y="505237"/>
                  <a:pt x="868368" y="526978"/>
                </a:cubicBezTo>
                <a:cubicBezTo>
                  <a:pt x="881368" y="548704"/>
                  <a:pt x="887883" y="574036"/>
                  <a:pt x="887883" y="603017"/>
                </a:cubicBezTo>
                <a:cubicBezTo>
                  <a:pt x="887883" y="631989"/>
                  <a:pt x="881368" y="657346"/>
                  <a:pt x="868368" y="679062"/>
                </a:cubicBezTo>
                <a:cubicBezTo>
                  <a:pt x="855352" y="700788"/>
                  <a:pt x="837536" y="717703"/>
                  <a:pt x="814884" y="729768"/>
                </a:cubicBezTo>
                <a:cubicBezTo>
                  <a:pt x="792217" y="741833"/>
                  <a:pt x="766592" y="747869"/>
                  <a:pt x="738002" y="747869"/>
                </a:cubicBezTo>
                <a:cubicBezTo>
                  <a:pt x="709387" y="747869"/>
                  <a:pt x="683861" y="741833"/>
                  <a:pt x="661396" y="729768"/>
                </a:cubicBezTo>
                <a:cubicBezTo>
                  <a:pt x="638923" y="717703"/>
                  <a:pt x="621187" y="700788"/>
                  <a:pt x="608188" y="679062"/>
                </a:cubicBezTo>
                <a:cubicBezTo>
                  <a:pt x="595181" y="657346"/>
                  <a:pt x="588689" y="631989"/>
                  <a:pt x="588689" y="603017"/>
                </a:cubicBezTo>
                <a:cubicBezTo>
                  <a:pt x="588689" y="574036"/>
                  <a:pt x="595181" y="548704"/>
                  <a:pt x="608188" y="526978"/>
                </a:cubicBezTo>
                <a:cubicBezTo>
                  <a:pt x="621187" y="505237"/>
                  <a:pt x="638923" y="488339"/>
                  <a:pt x="661396" y="476265"/>
                </a:cubicBezTo>
                <a:cubicBezTo>
                  <a:pt x="683861" y="464209"/>
                  <a:pt x="709387" y="458164"/>
                  <a:pt x="738002" y="458164"/>
                </a:cubicBezTo>
                <a:close/>
                <a:moveTo>
                  <a:pt x="1381788" y="458159"/>
                </a:moveTo>
                <a:cubicBezTo>
                  <a:pt x="1406666" y="458159"/>
                  <a:pt x="1429495" y="464204"/>
                  <a:pt x="1450311" y="476261"/>
                </a:cubicBezTo>
                <a:cubicBezTo>
                  <a:pt x="1471110" y="488334"/>
                  <a:pt x="1487936" y="505234"/>
                  <a:pt x="1500740" y="526975"/>
                </a:cubicBezTo>
                <a:cubicBezTo>
                  <a:pt x="1513561" y="548700"/>
                  <a:pt x="1519963" y="574033"/>
                  <a:pt x="1519963" y="603013"/>
                </a:cubicBezTo>
                <a:cubicBezTo>
                  <a:pt x="1519963" y="631984"/>
                  <a:pt x="1513561" y="657341"/>
                  <a:pt x="1500740" y="679059"/>
                </a:cubicBezTo>
                <a:cubicBezTo>
                  <a:pt x="1487936" y="700783"/>
                  <a:pt x="1471110" y="717699"/>
                  <a:pt x="1450311" y="729763"/>
                </a:cubicBezTo>
                <a:cubicBezTo>
                  <a:pt x="1429495" y="741828"/>
                  <a:pt x="1406666" y="747865"/>
                  <a:pt x="1381788" y="747865"/>
                </a:cubicBezTo>
                <a:cubicBezTo>
                  <a:pt x="1358381" y="747865"/>
                  <a:pt x="1337575" y="742016"/>
                  <a:pt x="1319392" y="730316"/>
                </a:cubicBezTo>
                <a:cubicBezTo>
                  <a:pt x="1314217" y="726984"/>
                  <a:pt x="1309382" y="723247"/>
                  <a:pt x="1304906" y="719120"/>
                </a:cubicBezTo>
                <a:lnTo>
                  <a:pt x="1304906" y="848138"/>
                </a:lnTo>
                <a:lnTo>
                  <a:pt x="1228576" y="848138"/>
                </a:lnTo>
                <a:lnTo>
                  <a:pt x="1228576" y="463733"/>
                </a:lnTo>
                <a:lnTo>
                  <a:pt x="1282628" y="463733"/>
                </a:lnTo>
                <a:lnTo>
                  <a:pt x="1296805" y="492104"/>
                </a:lnTo>
                <a:cubicBezTo>
                  <a:pt x="1302801" y="486132"/>
                  <a:pt x="1309415" y="480852"/>
                  <a:pt x="1316605" y="476261"/>
                </a:cubicBezTo>
                <a:cubicBezTo>
                  <a:pt x="1335552" y="464204"/>
                  <a:pt x="1357268" y="458159"/>
                  <a:pt x="1381788" y="458159"/>
                </a:cubicBezTo>
                <a:close/>
                <a:moveTo>
                  <a:pt x="186101" y="380162"/>
                </a:moveTo>
                <a:cubicBezTo>
                  <a:pt x="219517" y="380162"/>
                  <a:pt x="248570" y="386100"/>
                  <a:pt x="273277" y="397978"/>
                </a:cubicBezTo>
                <a:cubicBezTo>
                  <a:pt x="297960" y="409881"/>
                  <a:pt x="317849" y="425480"/>
                  <a:pt x="332895" y="444775"/>
                </a:cubicBezTo>
                <a:cubicBezTo>
                  <a:pt x="347933" y="464096"/>
                  <a:pt x="357309" y="484895"/>
                  <a:pt x="361022" y="507172"/>
                </a:cubicBezTo>
                <a:lnTo>
                  <a:pt x="279696" y="507172"/>
                </a:lnTo>
                <a:cubicBezTo>
                  <a:pt x="277088" y="498260"/>
                  <a:pt x="271790" y="489543"/>
                  <a:pt x="263821" y="480995"/>
                </a:cubicBezTo>
                <a:cubicBezTo>
                  <a:pt x="255809" y="472440"/>
                  <a:pt x="245410" y="465396"/>
                  <a:pt x="232606" y="459822"/>
                </a:cubicBezTo>
                <a:cubicBezTo>
                  <a:pt x="219802" y="454257"/>
                  <a:pt x="204471" y="451462"/>
                  <a:pt x="186653" y="451462"/>
                </a:cubicBezTo>
                <a:cubicBezTo>
                  <a:pt x="165839" y="451462"/>
                  <a:pt x="147372" y="456102"/>
                  <a:pt x="131220" y="465396"/>
                </a:cubicBezTo>
                <a:cubicBezTo>
                  <a:pt x="115044" y="474682"/>
                  <a:pt x="102426" y="487674"/>
                  <a:pt x="93327" y="504401"/>
                </a:cubicBezTo>
                <a:cubicBezTo>
                  <a:pt x="84219" y="521106"/>
                  <a:pt x="79686" y="540978"/>
                  <a:pt x="79686" y="564003"/>
                </a:cubicBezTo>
                <a:cubicBezTo>
                  <a:pt x="79686" y="587037"/>
                  <a:pt x="84309" y="607097"/>
                  <a:pt x="93603" y="624174"/>
                </a:cubicBezTo>
                <a:cubicBezTo>
                  <a:pt x="102889" y="641260"/>
                  <a:pt x="115799" y="654446"/>
                  <a:pt x="132324" y="663725"/>
                </a:cubicBezTo>
                <a:cubicBezTo>
                  <a:pt x="148842" y="673027"/>
                  <a:pt x="167707" y="677658"/>
                  <a:pt x="188871" y="677658"/>
                </a:cubicBezTo>
                <a:cubicBezTo>
                  <a:pt x="208565" y="677658"/>
                  <a:pt x="225733" y="674603"/>
                  <a:pt x="240413" y="668478"/>
                </a:cubicBezTo>
                <a:cubicBezTo>
                  <a:pt x="255070" y="662335"/>
                  <a:pt x="266599" y="653138"/>
                  <a:pt x="274943" y="640886"/>
                </a:cubicBezTo>
                <a:cubicBezTo>
                  <a:pt x="281183" y="631771"/>
                  <a:pt x="285269" y="620981"/>
                  <a:pt x="287276" y="608575"/>
                </a:cubicBezTo>
                <a:lnTo>
                  <a:pt x="167146" y="608575"/>
                </a:lnTo>
                <a:lnTo>
                  <a:pt x="167146" y="542832"/>
                </a:lnTo>
                <a:lnTo>
                  <a:pt x="367717" y="542832"/>
                </a:lnTo>
                <a:cubicBezTo>
                  <a:pt x="368464" y="547665"/>
                  <a:pt x="368903" y="552784"/>
                  <a:pt x="369106" y="558154"/>
                </a:cubicBezTo>
                <a:cubicBezTo>
                  <a:pt x="369293" y="563541"/>
                  <a:pt x="369366" y="568846"/>
                  <a:pt x="369366" y="574030"/>
                </a:cubicBezTo>
                <a:cubicBezTo>
                  <a:pt x="369366" y="610062"/>
                  <a:pt x="361396" y="641089"/>
                  <a:pt x="345422" y="667071"/>
                </a:cubicBezTo>
                <a:cubicBezTo>
                  <a:pt x="329451" y="693070"/>
                  <a:pt x="307823" y="713033"/>
                  <a:pt x="280533" y="726967"/>
                </a:cubicBezTo>
                <a:cubicBezTo>
                  <a:pt x="253217" y="740884"/>
                  <a:pt x="222303" y="747863"/>
                  <a:pt x="187766" y="747863"/>
                </a:cubicBezTo>
                <a:cubicBezTo>
                  <a:pt x="161028" y="747863"/>
                  <a:pt x="136232" y="743305"/>
                  <a:pt x="113395" y="734205"/>
                </a:cubicBezTo>
                <a:cubicBezTo>
                  <a:pt x="90549" y="725106"/>
                  <a:pt x="70667" y="712203"/>
                  <a:pt x="53760" y="695491"/>
                </a:cubicBezTo>
                <a:cubicBezTo>
                  <a:pt x="36862" y="678779"/>
                  <a:pt x="23684" y="659264"/>
                  <a:pt x="14218" y="636995"/>
                </a:cubicBezTo>
                <a:cubicBezTo>
                  <a:pt x="4737" y="614701"/>
                  <a:pt x="0" y="590392"/>
                  <a:pt x="0" y="564003"/>
                </a:cubicBezTo>
                <a:cubicBezTo>
                  <a:pt x="0" y="537632"/>
                  <a:pt x="4647" y="513299"/>
                  <a:pt x="13934" y="491020"/>
                </a:cubicBezTo>
                <a:cubicBezTo>
                  <a:pt x="23213" y="468744"/>
                  <a:pt x="36236" y="449333"/>
                  <a:pt x="52948" y="432809"/>
                </a:cubicBezTo>
                <a:cubicBezTo>
                  <a:pt x="69652" y="416283"/>
                  <a:pt x="89321" y="403365"/>
                  <a:pt x="111988" y="394079"/>
                </a:cubicBezTo>
                <a:cubicBezTo>
                  <a:pt x="134648" y="384800"/>
                  <a:pt x="159346" y="380162"/>
                  <a:pt x="186101" y="380162"/>
                </a:cubicBezTo>
                <a:close/>
                <a:moveTo>
                  <a:pt x="1100933" y="140027"/>
                </a:moveTo>
                <a:cubicBezTo>
                  <a:pt x="1087203" y="140027"/>
                  <a:pt x="1074935" y="143172"/>
                  <a:pt x="1064161" y="149501"/>
                </a:cubicBezTo>
                <a:cubicBezTo>
                  <a:pt x="1053397" y="155813"/>
                  <a:pt x="1044842" y="164726"/>
                  <a:pt x="1038537" y="176238"/>
                </a:cubicBezTo>
                <a:cubicBezTo>
                  <a:pt x="1032233" y="187751"/>
                  <a:pt x="1029064" y="201498"/>
                  <a:pt x="1029064" y="217470"/>
                </a:cubicBezTo>
                <a:cubicBezTo>
                  <a:pt x="1029064" y="233069"/>
                  <a:pt x="1032233" y="246629"/>
                  <a:pt x="1038537" y="258134"/>
                </a:cubicBezTo>
                <a:cubicBezTo>
                  <a:pt x="1044842" y="269646"/>
                  <a:pt x="1053397" y="278568"/>
                  <a:pt x="1064161" y="284880"/>
                </a:cubicBezTo>
                <a:cubicBezTo>
                  <a:pt x="1074935" y="291201"/>
                  <a:pt x="1087203" y="294353"/>
                  <a:pt x="1100933" y="294353"/>
                </a:cubicBezTo>
                <a:cubicBezTo>
                  <a:pt x="1114681" y="294353"/>
                  <a:pt x="1126932" y="291201"/>
                  <a:pt x="1137705" y="284880"/>
                </a:cubicBezTo>
                <a:cubicBezTo>
                  <a:pt x="1148470" y="278568"/>
                  <a:pt x="1157017" y="269646"/>
                  <a:pt x="1163330" y="258134"/>
                </a:cubicBezTo>
                <a:cubicBezTo>
                  <a:pt x="1169643" y="246629"/>
                  <a:pt x="1172803" y="233069"/>
                  <a:pt x="1172803" y="217470"/>
                </a:cubicBezTo>
                <a:cubicBezTo>
                  <a:pt x="1172803" y="201498"/>
                  <a:pt x="1169643" y="187751"/>
                  <a:pt x="1163330" y="176238"/>
                </a:cubicBezTo>
                <a:cubicBezTo>
                  <a:pt x="1157017" y="164726"/>
                  <a:pt x="1148470" y="155813"/>
                  <a:pt x="1137705" y="149501"/>
                </a:cubicBezTo>
                <a:cubicBezTo>
                  <a:pt x="1126932" y="143172"/>
                  <a:pt x="1114681" y="140027"/>
                  <a:pt x="1100933" y="140027"/>
                </a:cubicBezTo>
                <a:close/>
                <a:moveTo>
                  <a:pt x="473731" y="135036"/>
                </a:moveTo>
                <a:cubicBezTo>
                  <a:pt x="461472" y="135036"/>
                  <a:pt x="450219" y="137539"/>
                  <a:pt x="440022" y="142552"/>
                </a:cubicBezTo>
                <a:cubicBezTo>
                  <a:pt x="429786" y="147565"/>
                  <a:pt x="421629" y="156023"/>
                  <a:pt x="415495" y="167900"/>
                </a:cubicBezTo>
                <a:cubicBezTo>
                  <a:pt x="412668" y="173409"/>
                  <a:pt x="410482" y="179909"/>
                  <a:pt x="408963" y="187408"/>
                </a:cubicBezTo>
                <a:lnTo>
                  <a:pt x="539621" y="187408"/>
                </a:lnTo>
                <a:cubicBezTo>
                  <a:pt x="538257" y="178113"/>
                  <a:pt x="535462" y="170111"/>
                  <a:pt x="531099" y="163440"/>
                </a:cubicBezTo>
                <a:cubicBezTo>
                  <a:pt x="524794" y="153797"/>
                  <a:pt x="516630" y="146655"/>
                  <a:pt x="506578" y="142000"/>
                </a:cubicBezTo>
                <a:cubicBezTo>
                  <a:pt x="496553" y="137368"/>
                  <a:pt x="485593" y="135036"/>
                  <a:pt x="473731" y="135036"/>
                </a:cubicBezTo>
                <a:close/>
                <a:moveTo>
                  <a:pt x="1288935" y="78176"/>
                </a:moveTo>
                <a:lnTo>
                  <a:pt x="1365281" y="78176"/>
                </a:lnTo>
                <a:lnTo>
                  <a:pt x="1365281" y="235850"/>
                </a:lnTo>
                <a:cubicBezTo>
                  <a:pt x="1365281" y="255170"/>
                  <a:pt x="1370295" y="269746"/>
                  <a:pt x="1380312" y="279576"/>
                </a:cubicBezTo>
                <a:cubicBezTo>
                  <a:pt x="1390362" y="289439"/>
                  <a:pt x="1403719" y="294363"/>
                  <a:pt x="1420431" y="294363"/>
                </a:cubicBezTo>
                <a:cubicBezTo>
                  <a:pt x="1437508" y="294363"/>
                  <a:pt x="1450980" y="289439"/>
                  <a:pt x="1460827" y="279576"/>
                </a:cubicBezTo>
                <a:cubicBezTo>
                  <a:pt x="1470674" y="269746"/>
                  <a:pt x="1475589" y="255170"/>
                  <a:pt x="1475589" y="235850"/>
                </a:cubicBezTo>
                <a:lnTo>
                  <a:pt x="1475589" y="78176"/>
                </a:lnTo>
                <a:lnTo>
                  <a:pt x="1551902" y="78176"/>
                </a:lnTo>
                <a:lnTo>
                  <a:pt x="1551902" y="244210"/>
                </a:lnTo>
                <a:cubicBezTo>
                  <a:pt x="1551902" y="267991"/>
                  <a:pt x="1546345" y="288773"/>
                  <a:pt x="1535190" y="306607"/>
                </a:cubicBezTo>
                <a:cubicBezTo>
                  <a:pt x="1524067" y="324432"/>
                  <a:pt x="1508647" y="338178"/>
                  <a:pt x="1488953" y="347839"/>
                </a:cubicBezTo>
                <a:cubicBezTo>
                  <a:pt x="1469284" y="357483"/>
                  <a:pt x="1446430" y="362325"/>
                  <a:pt x="1420431" y="362325"/>
                </a:cubicBezTo>
                <a:cubicBezTo>
                  <a:pt x="1381051" y="362325"/>
                  <a:pt x="1349300" y="351836"/>
                  <a:pt x="1325163" y="330834"/>
                </a:cubicBezTo>
                <a:cubicBezTo>
                  <a:pt x="1301025" y="309864"/>
                  <a:pt x="1288935" y="280981"/>
                  <a:pt x="1288935" y="244210"/>
                </a:cubicBezTo>
                <a:close/>
                <a:moveTo>
                  <a:pt x="475942" y="72641"/>
                </a:moveTo>
                <a:cubicBezTo>
                  <a:pt x="503053" y="72641"/>
                  <a:pt x="527012" y="78490"/>
                  <a:pt x="547811" y="90189"/>
                </a:cubicBezTo>
                <a:cubicBezTo>
                  <a:pt x="568610" y="101880"/>
                  <a:pt x="584965" y="118422"/>
                  <a:pt x="596842" y="139773"/>
                </a:cubicBezTo>
                <a:cubicBezTo>
                  <a:pt x="608745" y="161133"/>
                  <a:pt x="614668" y="186669"/>
                  <a:pt x="614668" y="216380"/>
                </a:cubicBezTo>
                <a:cubicBezTo>
                  <a:pt x="614668" y="228127"/>
                  <a:pt x="613920" y="234961"/>
                  <a:pt x="613555" y="238666"/>
                </a:cubicBezTo>
                <a:lnTo>
                  <a:pt x="407865" y="238666"/>
                </a:lnTo>
                <a:cubicBezTo>
                  <a:pt x="409385" y="248277"/>
                  <a:pt x="412017" y="256637"/>
                  <a:pt x="415780" y="263738"/>
                </a:cubicBezTo>
                <a:cubicBezTo>
                  <a:pt x="422092" y="275632"/>
                  <a:pt x="430810" y="284349"/>
                  <a:pt x="441965" y="289923"/>
                </a:cubicBezTo>
                <a:cubicBezTo>
                  <a:pt x="453120" y="295489"/>
                  <a:pt x="465542" y="298268"/>
                  <a:pt x="479288" y="298268"/>
                </a:cubicBezTo>
                <a:cubicBezTo>
                  <a:pt x="490443" y="298268"/>
                  <a:pt x="499802" y="296796"/>
                  <a:pt x="507432" y="293824"/>
                </a:cubicBezTo>
                <a:cubicBezTo>
                  <a:pt x="515020" y="290841"/>
                  <a:pt x="521349" y="286666"/>
                  <a:pt x="526378" y="281279"/>
                </a:cubicBezTo>
                <a:cubicBezTo>
                  <a:pt x="531375" y="275908"/>
                  <a:pt x="534820" y="269855"/>
                  <a:pt x="536681" y="263161"/>
                </a:cubicBezTo>
                <a:lnTo>
                  <a:pt x="612442" y="263161"/>
                </a:lnTo>
                <a:cubicBezTo>
                  <a:pt x="609460" y="282871"/>
                  <a:pt x="601856" y="300136"/>
                  <a:pt x="589588" y="314995"/>
                </a:cubicBezTo>
                <a:cubicBezTo>
                  <a:pt x="577335" y="329848"/>
                  <a:pt x="561834" y="341450"/>
                  <a:pt x="543090" y="349817"/>
                </a:cubicBezTo>
                <a:cubicBezTo>
                  <a:pt x="524323" y="358162"/>
                  <a:pt x="503053" y="362345"/>
                  <a:pt x="479288" y="362345"/>
                </a:cubicBezTo>
                <a:cubicBezTo>
                  <a:pt x="451064" y="362345"/>
                  <a:pt x="425886" y="356317"/>
                  <a:pt x="403795" y="344228"/>
                </a:cubicBezTo>
                <a:cubicBezTo>
                  <a:pt x="381697" y="332180"/>
                  <a:pt x="364343" y="315272"/>
                  <a:pt x="351701" y="293547"/>
                </a:cubicBezTo>
                <a:cubicBezTo>
                  <a:pt x="339075" y="271806"/>
                  <a:pt x="332770" y="246457"/>
                  <a:pt x="332770" y="217493"/>
                </a:cubicBezTo>
                <a:cubicBezTo>
                  <a:pt x="332770" y="188521"/>
                  <a:pt x="338897" y="163164"/>
                  <a:pt x="351148" y="141438"/>
                </a:cubicBezTo>
                <a:cubicBezTo>
                  <a:pt x="363408" y="119714"/>
                  <a:pt x="380299" y="102823"/>
                  <a:pt x="401846" y="90741"/>
                </a:cubicBezTo>
                <a:cubicBezTo>
                  <a:pt x="423384" y="78676"/>
                  <a:pt x="448090" y="72641"/>
                  <a:pt x="475942" y="72641"/>
                </a:cubicBezTo>
                <a:close/>
                <a:moveTo>
                  <a:pt x="1089803" y="72618"/>
                </a:moveTo>
                <a:cubicBezTo>
                  <a:pt x="1114681" y="72618"/>
                  <a:pt x="1136503" y="78646"/>
                  <a:pt x="1155262" y="90720"/>
                </a:cubicBezTo>
                <a:cubicBezTo>
                  <a:pt x="1162485" y="95375"/>
                  <a:pt x="1169131" y="100761"/>
                  <a:pt x="1175176" y="106855"/>
                </a:cubicBezTo>
                <a:lnTo>
                  <a:pt x="1189515" y="78182"/>
                </a:lnTo>
                <a:lnTo>
                  <a:pt x="1243560" y="78182"/>
                </a:lnTo>
                <a:lnTo>
                  <a:pt x="1243560" y="356750"/>
                </a:lnTo>
                <a:lnTo>
                  <a:pt x="1189515" y="356750"/>
                </a:lnTo>
                <a:lnTo>
                  <a:pt x="1175176" y="328062"/>
                </a:lnTo>
                <a:cubicBezTo>
                  <a:pt x="1169131" y="334155"/>
                  <a:pt x="1162485" y="339550"/>
                  <a:pt x="1155262" y="344205"/>
                </a:cubicBezTo>
                <a:cubicBezTo>
                  <a:pt x="1136503" y="356287"/>
                  <a:pt x="1114681" y="362315"/>
                  <a:pt x="1089803" y="362315"/>
                </a:cubicBezTo>
                <a:cubicBezTo>
                  <a:pt x="1065291" y="362315"/>
                  <a:pt x="1042623" y="356287"/>
                  <a:pt x="1021824" y="344205"/>
                </a:cubicBezTo>
                <a:cubicBezTo>
                  <a:pt x="1001034" y="332140"/>
                  <a:pt x="984224" y="315241"/>
                  <a:pt x="971420" y="293516"/>
                </a:cubicBezTo>
                <a:cubicBezTo>
                  <a:pt x="958599" y="271775"/>
                  <a:pt x="952197" y="246426"/>
                  <a:pt x="952197" y="217470"/>
                </a:cubicBezTo>
                <a:cubicBezTo>
                  <a:pt x="952197" y="188490"/>
                  <a:pt x="958599" y="163142"/>
                  <a:pt x="971420" y="141417"/>
                </a:cubicBezTo>
                <a:cubicBezTo>
                  <a:pt x="984224" y="119691"/>
                  <a:pt x="1001034" y="102792"/>
                  <a:pt x="1021824" y="90720"/>
                </a:cubicBezTo>
                <a:cubicBezTo>
                  <a:pt x="1042623" y="78646"/>
                  <a:pt x="1065291" y="72618"/>
                  <a:pt x="1089803" y="72618"/>
                </a:cubicBezTo>
                <a:close/>
                <a:moveTo>
                  <a:pt x="802554" y="72613"/>
                </a:moveTo>
                <a:cubicBezTo>
                  <a:pt x="825204" y="72613"/>
                  <a:pt x="845353" y="77269"/>
                  <a:pt x="863008" y="86546"/>
                </a:cubicBezTo>
                <a:cubicBezTo>
                  <a:pt x="880630" y="95833"/>
                  <a:pt x="894661" y="109189"/>
                  <a:pt x="905069" y="126657"/>
                </a:cubicBezTo>
                <a:cubicBezTo>
                  <a:pt x="915452" y="144125"/>
                  <a:pt x="920667" y="164907"/>
                  <a:pt x="920667" y="189062"/>
                </a:cubicBezTo>
                <a:lnTo>
                  <a:pt x="920667" y="356745"/>
                </a:lnTo>
                <a:lnTo>
                  <a:pt x="844338" y="356745"/>
                </a:lnTo>
                <a:lnTo>
                  <a:pt x="844338" y="200753"/>
                </a:lnTo>
                <a:cubicBezTo>
                  <a:pt x="844338" y="188127"/>
                  <a:pt x="841924" y="177265"/>
                  <a:pt x="837099" y="168166"/>
                </a:cubicBezTo>
                <a:cubicBezTo>
                  <a:pt x="832273" y="159066"/>
                  <a:pt x="825480" y="152103"/>
                  <a:pt x="816771" y="147270"/>
                </a:cubicBezTo>
                <a:cubicBezTo>
                  <a:pt x="808029" y="142443"/>
                  <a:pt x="797905" y="140023"/>
                  <a:pt x="786393" y="140023"/>
                </a:cubicBezTo>
                <a:cubicBezTo>
                  <a:pt x="768577" y="140023"/>
                  <a:pt x="754366" y="145312"/>
                  <a:pt x="743764" y="155898"/>
                </a:cubicBezTo>
                <a:cubicBezTo>
                  <a:pt x="733193" y="166484"/>
                  <a:pt x="727904" y="181450"/>
                  <a:pt x="727904" y="200753"/>
                </a:cubicBezTo>
                <a:lnTo>
                  <a:pt x="727904" y="356745"/>
                </a:lnTo>
                <a:lnTo>
                  <a:pt x="651575" y="356745"/>
                </a:lnTo>
                <a:lnTo>
                  <a:pt x="651575" y="78186"/>
                </a:lnTo>
                <a:lnTo>
                  <a:pt x="705627" y="78186"/>
                </a:lnTo>
                <a:lnTo>
                  <a:pt x="719935" y="106817"/>
                </a:lnTo>
                <a:cubicBezTo>
                  <a:pt x="727491" y="98351"/>
                  <a:pt x="736606" y="91186"/>
                  <a:pt x="747404" y="85433"/>
                </a:cubicBezTo>
                <a:cubicBezTo>
                  <a:pt x="763360" y="76886"/>
                  <a:pt x="781738" y="72613"/>
                  <a:pt x="802554" y="72613"/>
                </a:cubicBezTo>
                <a:close/>
                <a:moveTo>
                  <a:pt x="99221" y="69274"/>
                </a:moveTo>
                <a:lnTo>
                  <a:pt x="99221" y="173455"/>
                </a:lnTo>
                <a:lnTo>
                  <a:pt x="174975" y="173455"/>
                </a:lnTo>
                <a:cubicBezTo>
                  <a:pt x="192792" y="173455"/>
                  <a:pt x="206629" y="168824"/>
                  <a:pt x="216476" y="159538"/>
                </a:cubicBezTo>
                <a:cubicBezTo>
                  <a:pt x="226323" y="150251"/>
                  <a:pt x="231245" y="137626"/>
                  <a:pt x="231245" y="121645"/>
                </a:cubicBezTo>
                <a:cubicBezTo>
                  <a:pt x="231245" y="104933"/>
                  <a:pt x="226323" y="92031"/>
                  <a:pt x="216476" y="82932"/>
                </a:cubicBezTo>
                <a:cubicBezTo>
                  <a:pt x="206629" y="73831"/>
                  <a:pt x="192792" y="69274"/>
                  <a:pt x="174975" y="69274"/>
                </a:cubicBezTo>
                <a:close/>
                <a:moveTo>
                  <a:pt x="21202" y="183"/>
                </a:moveTo>
                <a:lnTo>
                  <a:pt x="172741" y="183"/>
                </a:lnTo>
                <a:cubicBezTo>
                  <a:pt x="215817" y="183"/>
                  <a:pt x="249534" y="10785"/>
                  <a:pt x="273867" y="31949"/>
                </a:cubicBezTo>
                <a:cubicBezTo>
                  <a:pt x="298183" y="53122"/>
                  <a:pt x="310354" y="82647"/>
                  <a:pt x="310354" y="120532"/>
                </a:cubicBezTo>
                <a:cubicBezTo>
                  <a:pt x="310354" y="157669"/>
                  <a:pt x="298183" y="186925"/>
                  <a:pt x="273867" y="208277"/>
                </a:cubicBezTo>
                <a:cubicBezTo>
                  <a:pt x="265620" y="215533"/>
                  <a:pt x="256278" y="221503"/>
                  <a:pt x="245878" y="226289"/>
                </a:cubicBezTo>
                <a:lnTo>
                  <a:pt x="321509" y="356753"/>
                </a:lnTo>
                <a:lnTo>
                  <a:pt x="231815" y="356753"/>
                </a:lnTo>
                <a:lnTo>
                  <a:pt x="170206" y="240312"/>
                </a:lnTo>
                <a:lnTo>
                  <a:pt x="99221" y="240312"/>
                </a:lnTo>
                <a:lnTo>
                  <a:pt x="99221" y="356753"/>
                </a:lnTo>
                <a:lnTo>
                  <a:pt x="21202" y="356753"/>
                </a:lnTo>
                <a:close/>
                <a:moveTo>
                  <a:pt x="1714417" y="148"/>
                </a:moveTo>
                <a:lnTo>
                  <a:pt x="1790771" y="148"/>
                </a:lnTo>
                <a:lnTo>
                  <a:pt x="1790771" y="78161"/>
                </a:lnTo>
                <a:lnTo>
                  <a:pt x="1876323" y="78161"/>
                </a:lnTo>
                <a:lnTo>
                  <a:pt x="1876323" y="141671"/>
                </a:lnTo>
                <a:lnTo>
                  <a:pt x="1790771" y="141671"/>
                </a:lnTo>
                <a:lnTo>
                  <a:pt x="1790771" y="246972"/>
                </a:lnTo>
                <a:cubicBezTo>
                  <a:pt x="1790771" y="260727"/>
                  <a:pt x="1793924" y="270753"/>
                  <a:pt x="1800229" y="277050"/>
                </a:cubicBezTo>
                <a:cubicBezTo>
                  <a:pt x="1806532" y="283370"/>
                  <a:pt x="1816550" y="286523"/>
                  <a:pt x="1830314" y="286523"/>
                </a:cubicBezTo>
                <a:lnTo>
                  <a:pt x="1876550" y="286523"/>
                </a:lnTo>
                <a:lnTo>
                  <a:pt x="1876550" y="356727"/>
                </a:lnTo>
                <a:lnTo>
                  <a:pt x="1828079" y="356727"/>
                </a:lnTo>
                <a:cubicBezTo>
                  <a:pt x="1801342" y="356727"/>
                  <a:pt x="1779616" y="353096"/>
                  <a:pt x="1762904" y="345864"/>
                </a:cubicBezTo>
                <a:cubicBezTo>
                  <a:pt x="1746192" y="338610"/>
                  <a:pt x="1733933" y="327284"/>
                  <a:pt x="1726124" y="311872"/>
                </a:cubicBezTo>
                <a:cubicBezTo>
                  <a:pt x="1718325" y="296476"/>
                  <a:pt x="1714417" y="276879"/>
                  <a:pt x="1714417" y="253082"/>
                </a:cubicBezTo>
                <a:close/>
                <a:moveTo>
                  <a:pt x="1595217" y="0"/>
                </a:moveTo>
                <a:lnTo>
                  <a:pt x="1671555" y="0"/>
                </a:lnTo>
                <a:lnTo>
                  <a:pt x="1671555" y="356555"/>
                </a:lnTo>
                <a:lnTo>
                  <a:pt x="1595217" y="35655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12" name="Forme libre 11">
            <a:extLst>
              <a:ext uri="{FF2B5EF4-FFF2-40B4-BE49-F238E27FC236}">
                <a16:creationId xmlns:a16="http://schemas.microsoft.com/office/drawing/2014/main" id="{0FB2424B-10F5-1B41-ADBD-C57057C87C19}"/>
              </a:ext>
            </a:extLst>
          </p:cNvPr>
          <p:cNvSpPr/>
          <p:nvPr/>
        </p:nvSpPr>
        <p:spPr>
          <a:xfrm>
            <a:off x="1333500" y="361950"/>
            <a:ext cx="9525000" cy="6134575"/>
          </a:xfrm>
          <a:custGeom>
            <a:avLst/>
            <a:gdLst>
              <a:gd name="connsiteX0" fmla="*/ 0 w 9525000"/>
              <a:gd name="connsiteY0" fmla="*/ 0 h 6134575"/>
              <a:gd name="connsiteX1" fmla="*/ 9525000 w 9525000"/>
              <a:gd name="connsiteY1" fmla="*/ 0 h 6134575"/>
              <a:gd name="connsiteX2" fmla="*/ 9525000 w 9525000"/>
              <a:gd name="connsiteY2" fmla="*/ 6134576 h 6134575"/>
              <a:gd name="connsiteX3" fmla="*/ 0 w 9525000"/>
              <a:gd name="connsiteY3" fmla="*/ 6134576 h 613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25000" h="6134575">
                <a:moveTo>
                  <a:pt x="0" y="0"/>
                </a:moveTo>
                <a:lnTo>
                  <a:pt x="9525000" y="0"/>
                </a:lnTo>
                <a:lnTo>
                  <a:pt x="9525000" y="6134576"/>
                </a:lnTo>
                <a:lnTo>
                  <a:pt x="0" y="6134576"/>
                </a:lnTo>
                <a:close/>
              </a:path>
            </a:pathLst>
          </a:custGeom>
          <a:noFill/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grpSp>
        <p:nvGrpSpPr>
          <p:cNvPr id="63" name="Groupe 62">
            <a:extLst>
              <a:ext uri="{FF2B5EF4-FFF2-40B4-BE49-F238E27FC236}">
                <a16:creationId xmlns:a16="http://schemas.microsoft.com/office/drawing/2014/main" id="{D650EAEC-2693-A141-BF1E-D09B45BAEBED}"/>
              </a:ext>
            </a:extLst>
          </p:cNvPr>
          <p:cNvGrpSpPr/>
          <p:nvPr userDrawn="1"/>
        </p:nvGrpSpPr>
        <p:grpSpPr>
          <a:xfrm>
            <a:off x="9779653" y="518988"/>
            <a:ext cx="1923397" cy="805400"/>
            <a:chOff x="9314925" y="620617"/>
            <a:chExt cx="2221200" cy="930102"/>
          </a:xfrm>
        </p:grpSpPr>
        <p:sp>
          <p:nvSpPr>
            <p:cNvPr id="64" name="Forme libre 63">
              <a:extLst>
                <a:ext uri="{FF2B5EF4-FFF2-40B4-BE49-F238E27FC236}">
                  <a16:creationId xmlns:a16="http://schemas.microsoft.com/office/drawing/2014/main" id="{2F0DE8E1-270B-3E4E-BE54-1E66400B8783}"/>
                </a:ext>
              </a:extLst>
            </p:cNvPr>
            <p:cNvSpPr/>
            <p:nvPr/>
          </p:nvSpPr>
          <p:spPr>
            <a:xfrm>
              <a:off x="9314925" y="647221"/>
              <a:ext cx="276558" cy="350749"/>
            </a:xfrm>
            <a:custGeom>
              <a:avLst/>
              <a:gdLst>
                <a:gd name="connsiteX0" fmla="*/ 347823 w 665192"/>
                <a:gd name="connsiteY0" fmla="*/ 511341 h 843646"/>
                <a:gd name="connsiteX1" fmla="*/ 276164 w 665192"/>
                <a:gd name="connsiteY1" fmla="*/ 501073 h 843646"/>
                <a:gd name="connsiteX2" fmla="*/ 4948 w 665192"/>
                <a:gd name="connsiteY2" fmla="*/ 253104 h 843646"/>
                <a:gd name="connsiteX3" fmla="*/ 318417 w 665192"/>
                <a:gd name="connsiteY3" fmla="*/ 0 h 843646"/>
                <a:gd name="connsiteX4" fmla="*/ 643400 w 665192"/>
                <a:gd name="connsiteY4" fmla="*/ 260805 h 843646"/>
                <a:gd name="connsiteX5" fmla="*/ 460496 w 665192"/>
                <a:gd name="connsiteY5" fmla="*/ 260805 h 843646"/>
                <a:gd name="connsiteX6" fmla="*/ 319749 w 665192"/>
                <a:gd name="connsiteY6" fmla="*/ 157263 h 843646"/>
                <a:gd name="connsiteX7" fmla="*/ 187948 w 665192"/>
                <a:gd name="connsiteY7" fmla="*/ 241599 h 843646"/>
                <a:gd name="connsiteX8" fmla="*/ 345348 w 665192"/>
                <a:gd name="connsiteY8" fmla="*/ 331069 h 843646"/>
                <a:gd name="connsiteX9" fmla="*/ 417006 w 665192"/>
                <a:gd name="connsiteY9" fmla="*/ 342574 h 843646"/>
                <a:gd name="connsiteX10" fmla="*/ 665193 w 665192"/>
                <a:gd name="connsiteY10" fmla="*/ 582842 h 843646"/>
                <a:gd name="connsiteX11" fmla="*/ 344111 w 665192"/>
                <a:gd name="connsiteY11" fmla="*/ 843647 h 843646"/>
                <a:gd name="connsiteX12" fmla="*/ 0 w 665192"/>
                <a:gd name="connsiteY12" fmla="*/ 573904 h 843646"/>
                <a:gd name="connsiteX13" fmla="*/ 188043 w 665192"/>
                <a:gd name="connsiteY13" fmla="*/ 573904 h 843646"/>
                <a:gd name="connsiteX14" fmla="*/ 346681 w 665192"/>
                <a:gd name="connsiteY14" fmla="*/ 685148 h 843646"/>
                <a:gd name="connsiteX15" fmla="*/ 478482 w 665192"/>
                <a:gd name="connsiteY15" fmla="*/ 600812 h 843646"/>
                <a:gd name="connsiteX16" fmla="*/ 347823 w 665192"/>
                <a:gd name="connsiteY16" fmla="*/ 511341 h 84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5192" h="843646">
                  <a:moveTo>
                    <a:pt x="347823" y="511341"/>
                  </a:moveTo>
                  <a:lnTo>
                    <a:pt x="276164" y="501073"/>
                  </a:lnTo>
                  <a:cubicBezTo>
                    <a:pt x="104775" y="472929"/>
                    <a:pt x="4948" y="384790"/>
                    <a:pt x="4948" y="253104"/>
                  </a:cubicBezTo>
                  <a:cubicBezTo>
                    <a:pt x="4948" y="99739"/>
                    <a:pt x="129042" y="0"/>
                    <a:pt x="318417" y="0"/>
                  </a:cubicBezTo>
                  <a:cubicBezTo>
                    <a:pt x="503891" y="0"/>
                    <a:pt x="643400" y="98408"/>
                    <a:pt x="643400" y="260805"/>
                  </a:cubicBezTo>
                  <a:lnTo>
                    <a:pt x="460496" y="260805"/>
                  </a:lnTo>
                  <a:cubicBezTo>
                    <a:pt x="460496" y="194344"/>
                    <a:pt x="402922" y="157263"/>
                    <a:pt x="319749" y="157263"/>
                  </a:cubicBezTo>
                  <a:cubicBezTo>
                    <a:pt x="244285" y="157263"/>
                    <a:pt x="187948" y="186642"/>
                    <a:pt x="187948" y="241599"/>
                  </a:cubicBezTo>
                  <a:cubicBezTo>
                    <a:pt x="187948" y="293988"/>
                    <a:pt x="232770" y="313194"/>
                    <a:pt x="345348" y="331069"/>
                  </a:cubicBezTo>
                  <a:lnTo>
                    <a:pt x="417006" y="342574"/>
                  </a:lnTo>
                  <a:cubicBezTo>
                    <a:pt x="585922" y="369387"/>
                    <a:pt x="665193" y="456385"/>
                    <a:pt x="665193" y="582842"/>
                  </a:cubicBezTo>
                  <a:cubicBezTo>
                    <a:pt x="665193" y="736206"/>
                    <a:pt x="550045" y="843647"/>
                    <a:pt x="344111" y="843647"/>
                  </a:cubicBezTo>
                  <a:cubicBezTo>
                    <a:pt x="138082" y="843647"/>
                    <a:pt x="0" y="728600"/>
                    <a:pt x="0" y="573904"/>
                  </a:cubicBezTo>
                  <a:lnTo>
                    <a:pt x="188043" y="573904"/>
                  </a:lnTo>
                  <a:cubicBezTo>
                    <a:pt x="188043" y="639129"/>
                    <a:pt x="255895" y="685148"/>
                    <a:pt x="346681" y="685148"/>
                  </a:cubicBezTo>
                  <a:cubicBezTo>
                    <a:pt x="423478" y="685148"/>
                    <a:pt x="478482" y="655768"/>
                    <a:pt x="478482" y="600812"/>
                  </a:cubicBezTo>
                  <a:cubicBezTo>
                    <a:pt x="478292" y="556029"/>
                    <a:pt x="452693" y="529216"/>
                    <a:pt x="347823" y="511341"/>
                  </a:cubicBez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" name="Forme libre 64">
              <a:extLst>
                <a:ext uri="{FF2B5EF4-FFF2-40B4-BE49-F238E27FC236}">
                  <a16:creationId xmlns:a16="http://schemas.microsoft.com/office/drawing/2014/main" id="{D79BBD33-8EDE-0E41-A94F-73996B003C40}"/>
                </a:ext>
              </a:extLst>
            </p:cNvPr>
            <p:cNvSpPr/>
            <p:nvPr/>
          </p:nvSpPr>
          <p:spPr>
            <a:xfrm>
              <a:off x="9620602" y="721617"/>
              <a:ext cx="285618" cy="276355"/>
            </a:xfrm>
            <a:custGeom>
              <a:avLst/>
              <a:gdLst>
                <a:gd name="connsiteX0" fmla="*/ 342874 w 686985"/>
                <a:gd name="connsiteY0" fmla="*/ 664706 h 664705"/>
                <a:gd name="connsiteX1" fmla="*/ 0 w 686985"/>
                <a:gd name="connsiteY1" fmla="*/ 332305 h 664705"/>
                <a:gd name="connsiteX2" fmla="*/ 342874 w 686985"/>
                <a:gd name="connsiteY2" fmla="*/ 0 h 664705"/>
                <a:gd name="connsiteX3" fmla="*/ 686985 w 686985"/>
                <a:gd name="connsiteY3" fmla="*/ 332305 h 664705"/>
                <a:gd name="connsiteX4" fmla="*/ 342874 w 686985"/>
                <a:gd name="connsiteY4" fmla="*/ 664706 h 664705"/>
                <a:gd name="connsiteX5" fmla="*/ 342874 w 686985"/>
                <a:gd name="connsiteY5" fmla="*/ 154695 h 664705"/>
                <a:gd name="connsiteX6" fmla="*/ 176528 w 686985"/>
                <a:gd name="connsiteY6" fmla="*/ 332401 h 664705"/>
                <a:gd name="connsiteX7" fmla="*/ 342874 w 686985"/>
                <a:gd name="connsiteY7" fmla="*/ 508774 h 664705"/>
                <a:gd name="connsiteX8" fmla="*/ 510457 w 686985"/>
                <a:gd name="connsiteY8" fmla="*/ 332401 h 664705"/>
                <a:gd name="connsiteX9" fmla="*/ 342874 w 686985"/>
                <a:gd name="connsiteY9" fmla="*/ 154695 h 66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6985" h="664705">
                  <a:moveTo>
                    <a:pt x="342874" y="664706"/>
                  </a:moveTo>
                  <a:cubicBezTo>
                    <a:pt x="145886" y="664706"/>
                    <a:pt x="0" y="531784"/>
                    <a:pt x="0" y="332305"/>
                  </a:cubicBezTo>
                  <a:cubicBezTo>
                    <a:pt x="0" y="132922"/>
                    <a:pt x="145886" y="0"/>
                    <a:pt x="342874" y="0"/>
                  </a:cubicBezTo>
                  <a:cubicBezTo>
                    <a:pt x="539862" y="0"/>
                    <a:pt x="686985" y="132922"/>
                    <a:pt x="686985" y="332305"/>
                  </a:cubicBezTo>
                  <a:cubicBezTo>
                    <a:pt x="686985" y="531784"/>
                    <a:pt x="539862" y="664706"/>
                    <a:pt x="342874" y="664706"/>
                  </a:cubicBezTo>
                  <a:close/>
                  <a:moveTo>
                    <a:pt x="342874" y="154695"/>
                  </a:moveTo>
                  <a:cubicBezTo>
                    <a:pt x="246949" y="154695"/>
                    <a:pt x="176528" y="223724"/>
                    <a:pt x="176528" y="332401"/>
                  </a:cubicBezTo>
                  <a:cubicBezTo>
                    <a:pt x="176528" y="441077"/>
                    <a:pt x="246854" y="508774"/>
                    <a:pt x="342874" y="508774"/>
                  </a:cubicBezTo>
                  <a:cubicBezTo>
                    <a:pt x="438894" y="508774"/>
                    <a:pt x="510457" y="441077"/>
                    <a:pt x="510457" y="332401"/>
                  </a:cubicBezTo>
                  <a:cubicBezTo>
                    <a:pt x="510457" y="223724"/>
                    <a:pt x="438799" y="154695"/>
                    <a:pt x="342874" y="154695"/>
                  </a:cubicBez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" name="Forme libre 65">
              <a:extLst>
                <a:ext uri="{FF2B5EF4-FFF2-40B4-BE49-F238E27FC236}">
                  <a16:creationId xmlns:a16="http://schemas.microsoft.com/office/drawing/2014/main" id="{A1FE8DDE-9FF4-944B-A9CB-6F2921112642}"/>
                </a:ext>
              </a:extLst>
            </p:cNvPr>
            <p:cNvSpPr/>
            <p:nvPr/>
          </p:nvSpPr>
          <p:spPr>
            <a:xfrm>
              <a:off x="9921175" y="620617"/>
              <a:ext cx="194143" cy="372018"/>
            </a:xfrm>
            <a:custGeom>
              <a:avLst/>
              <a:gdLst>
                <a:gd name="connsiteX0" fmla="*/ 0 w 466967"/>
                <a:gd name="connsiteY0" fmla="*/ 277444 h 894799"/>
                <a:gd name="connsiteX1" fmla="*/ 89549 w 466967"/>
                <a:gd name="connsiteY1" fmla="*/ 277444 h 894799"/>
                <a:gd name="connsiteX2" fmla="*/ 89549 w 466967"/>
                <a:gd name="connsiteY2" fmla="*/ 235229 h 894799"/>
                <a:gd name="connsiteX3" fmla="*/ 350582 w 466967"/>
                <a:gd name="connsiteY3" fmla="*/ 0 h 894799"/>
                <a:gd name="connsiteX4" fmla="*/ 466967 w 466967"/>
                <a:gd name="connsiteY4" fmla="*/ 12741 h 894799"/>
                <a:gd name="connsiteX5" fmla="*/ 466967 w 466967"/>
                <a:gd name="connsiteY5" fmla="*/ 153364 h 894799"/>
                <a:gd name="connsiteX6" fmla="*/ 368473 w 466967"/>
                <a:gd name="connsiteY6" fmla="*/ 140624 h 894799"/>
                <a:gd name="connsiteX7" fmla="*/ 264840 w 466967"/>
                <a:gd name="connsiteY7" fmla="*/ 230094 h 894799"/>
                <a:gd name="connsiteX8" fmla="*/ 264840 w 466967"/>
                <a:gd name="connsiteY8" fmla="*/ 277349 h 894799"/>
                <a:gd name="connsiteX9" fmla="*/ 452883 w 466967"/>
                <a:gd name="connsiteY9" fmla="*/ 277349 h 894799"/>
                <a:gd name="connsiteX10" fmla="*/ 452883 w 466967"/>
                <a:gd name="connsiteY10" fmla="*/ 423107 h 894799"/>
                <a:gd name="connsiteX11" fmla="*/ 264840 w 466967"/>
                <a:gd name="connsiteY11" fmla="*/ 423107 h 894799"/>
                <a:gd name="connsiteX12" fmla="*/ 264840 w 466967"/>
                <a:gd name="connsiteY12" fmla="*/ 894800 h 894799"/>
                <a:gd name="connsiteX13" fmla="*/ 89549 w 466967"/>
                <a:gd name="connsiteY13" fmla="*/ 894800 h 894799"/>
                <a:gd name="connsiteX14" fmla="*/ 89549 w 466967"/>
                <a:gd name="connsiteY14" fmla="*/ 423107 h 894799"/>
                <a:gd name="connsiteX15" fmla="*/ 0 w 466967"/>
                <a:gd name="connsiteY15" fmla="*/ 423107 h 894799"/>
                <a:gd name="connsiteX16" fmla="*/ 0 w 466967"/>
                <a:gd name="connsiteY16" fmla="*/ 277444 h 89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967" h="894799">
                  <a:moveTo>
                    <a:pt x="0" y="277444"/>
                  </a:moveTo>
                  <a:lnTo>
                    <a:pt x="89549" y="277444"/>
                  </a:lnTo>
                  <a:lnTo>
                    <a:pt x="89549" y="235229"/>
                  </a:lnTo>
                  <a:cubicBezTo>
                    <a:pt x="89549" y="77966"/>
                    <a:pt x="176528" y="0"/>
                    <a:pt x="350582" y="0"/>
                  </a:cubicBezTo>
                  <a:cubicBezTo>
                    <a:pt x="392835" y="0"/>
                    <a:pt x="431186" y="5134"/>
                    <a:pt x="466967" y="12741"/>
                  </a:cubicBezTo>
                  <a:lnTo>
                    <a:pt x="466967" y="153364"/>
                  </a:lnTo>
                  <a:cubicBezTo>
                    <a:pt x="434992" y="145663"/>
                    <a:pt x="397879" y="140624"/>
                    <a:pt x="368473" y="140624"/>
                  </a:cubicBezTo>
                  <a:cubicBezTo>
                    <a:pt x="298147" y="140624"/>
                    <a:pt x="264840" y="168767"/>
                    <a:pt x="264840" y="230094"/>
                  </a:cubicBezTo>
                  <a:lnTo>
                    <a:pt x="264840" y="277349"/>
                  </a:lnTo>
                  <a:lnTo>
                    <a:pt x="452883" y="277349"/>
                  </a:lnTo>
                  <a:lnTo>
                    <a:pt x="452883" y="423107"/>
                  </a:lnTo>
                  <a:lnTo>
                    <a:pt x="264840" y="423107"/>
                  </a:lnTo>
                  <a:lnTo>
                    <a:pt x="264840" y="894800"/>
                  </a:lnTo>
                  <a:lnTo>
                    <a:pt x="89549" y="894800"/>
                  </a:lnTo>
                  <a:lnTo>
                    <a:pt x="89549" y="423107"/>
                  </a:lnTo>
                  <a:lnTo>
                    <a:pt x="0" y="423107"/>
                  </a:lnTo>
                  <a:lnTo>
                    <a:pt x="0" y="277444"/>
                  </a:ln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" name="Forme libre 66">
              <a:extLst>
                <a:ext uri="{FF2B5EF4-FFF2-40B4-BE49-F238E27FC236}">
                  <a16:creationId xmlns:a16="http://schemas.microsoft.com/office/drawing/2014/main" id="{7EA35BCE-3C3B-9844-BEF6-A299BB96868F}"/>
                </a:ext>
              </a:extLst>
            </p:cNvPr>
            <p:cNvSpPr/>
            <p:nvPr/>
          </p:nvSpPr>
          <p:spPr>
            <a:xfrm>
              <a:off x="10138860" y="663151"/>
              <a:ext cx="154816" cy="329482"/>
            </a:xfrm>
            <a:custGeom>
              <a:avLst/>
              <a:gdLst>
                <a:gd name="connsiteX0" fmla="*/ 95 w 372374"/>
                <a:gd name="connsiteY0" fmla="*/ 0 h 792493"/>
                <a:gd name="connsiteX1" fmla="*/ 175387 w 372374"/>
                <a:gd name="connsiteY1" fmla="*/ 0 h 792493"/>
                <a:gd name="connsiteX2" fmla="*/ 175387 w 372374"/>
                <a:gd name="connsiteY2" fmla="*/ 153364 h 792493"/>
                <a:gd name="connsiteX3" fmla="*/ 359623 w 372374"/>
                <a:gd name="connsiteY3" fmla="*/ 153364 h 792493"/>
                <a:gd name="connsiteX4" fmla="*/ 359623 w 372374"/>
                <a:gd name="connsiteY4" fmla="*/ 299122 h 792493"/>
                <a:gd name="connsiteX5" fmla="*/ 175387 w 372374"/>
                <a:gd name="connsiteY5" fmla="*/ 299122 h 792493"/>
                <a:gd name="connsiteX6" fmla="*/ 175387 w 372374"/>
                <a:gd name="connsiteY6" fmla="*/ 540721 h 792493"/>
                <a:gd name="connsiteX7" fmla="*/ 271311 w 372374"/>
                <a:gd name="connsiteY7" fmla="*/ 631428 h 792493"/>
                <a:gd name="connsiteX8" fmla="*/ 372375 w 372374"/>
                <a:gd name="connsiteY8" fmla="*/ 631428 h 792493"/>
                <a:gd name="connsiteX9" fmla="*/ 372375 w 372374"/>
                <a:gd name="connsiteY9" fmla="*/ 792494 h 792493"/>
                <a:gd name="connsiteX10" fmla="*/ 261034 w 372374"/>
                <a:gd name="connsiteY10" fmla="*/ 792494 h 792493"/>
                <a:gd name="connsiteX11" fmla="*/ 0 w 372374"/>
                <a:gd name="connsiteY11" fmla="*/ 554698 h 792493"/>
                <a:gd name="connsiteX12" fmla="*/ 0 w 372374"/>
                <a:gd name="connsiteY12" fmla="*/ 0 h 792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2374" h="792493">
                  <a:moveTo>
                    <a:pt x="95" y="0"/>
                  </a:moveTo>
                  <a:lnTo>
                    <a:pt x="175387" y="0"/>
                  </a:lnTo>
                  <a:lnTo>
                    <a:pt x="175387" y="153364"/>
                  </a:lnTo>
                  <a:lnTo>
                    <a:pt x="359623" y="153364"/>
                  </a:lnTo>
                  <a:lnTo>
                    <a:pt x="359623" y="299122"/>
                  </a:lnTo>
                  <a:lnTo>
                    <a:pt x="175387" y="299122"/>
                  </a:lnTo>
                  <a:lnTo>
                    <a:pt x="175387" y="540721"/>
                  </a:lnTo>
                  <a:cubicBezTo>
                    <a:pt x="175387" y="603379"/>
                    <a:pt x="202222" y="631428"/>
                    <a:pt x="271311" y="631428"/>
                  </a:cubicBezTo>
                  <a:lnTo>
                    <a:pt x="372375" y="631428"/>
                  </a:lnTo>
                  <a:lnTo>
                    <a:pt x="372375" y="792494"/>
                  </a:lnTo>
                  <a:lnTo>
                    <a:pt x="261034" y="792494"/>
                  </a:lnTo>
                  <a:cubicBezTo>
                    <a:pt x="75560" y="792494"/>
                    <a:pt x="0" y="719662"/>
                    <a:pt x="0" y="55469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" name="Forme libre 67">
              <a:extLst>
                <a:ext uri="{FF2B5EF4-FFF2-40B4-BE49-F238E27FC236}">
                  <a16:creationId xmlns:a16="http://schemas.microsoft.com/office/drawing/2014/main" id="{B6CD0CA4-A82E-3C49-AE9C-4649CC7C4779}"/>
                </a:ext>
              </a:extLst>
            </p:cNvPr>
            <p:cNvSpPr/>
            <p:nvPr/>
          </p:nvSpPr>
          <p:spPr>
            <a:xfrm>
              <a:off x="10309026" y="726951"/>
              <a:ext cx="429198" cy="265720"/>
            </a:xfrm>
            <a:custGeom>
              <a:avLst/>
              <a:gdLst>
                <a:gd name="connsiteX0" fmla="*/ 525874 w 1032333"/>
                <a:gd name="connsiteY0" fmla="*/ 297791 h 639129"/>
                <a:gd name="connsiteX1" fmla="*/ 387696 w 1032333"/>
                <a:gd name="connsiteY1" fmla="*/ 639129 h 639129"/>
                <a:gd name="connsiteX2" fmla="*/ 221350 w 1032333"/>
                <a:gd name="connsiteY2" fmla="*/ 639129 h 639129"/>
                <a:gd name="connsiteX3" fmla="*/ 0 w 1032333"/>
                <a:gd name="connsiteY3" fmla="*/ 0 h 639129"/>
                <a:gd name="connsiteX4" fmla="*/ 176528 w 1032333"/>
                <a:gd name="connsiteY4" fmla="*/ 0 h 639129"/>
                <a:gd name="connsiteX5" fmla="*/ 319845 w 1032333"/>
                <a:gd name="connsiteY5" fmla="*/ 429477 h 639129"/>
                <a:gd name="connsiteX6" fmla="*/ 452883 w 1032333"/>
                <a:gd name="connsiteY6" fmla="*/ 106110 h 639129"/>
                <a:gd name="connsiteX7" fmla="*/ 411963 w 1032333"/>
                <a:gd name="connsiteY7" fmla="*/ 0 h 639129"/>
                <a:gd name="connsiteX8" fmla="*/ 588491 w 1032333"/>
                <a:gd name="connsiteY8" fmla="*/ 0 h 639129"/>
                <a:gd name="connsiteX9" fmla="*/ 747129 w 1032333"/>
                <a:gd name="connsiteY9" fmla="*/ 429477 h 639129"/>
                <a:gd name="connsiteX10" fmla="*/ 872459 w 1032333"/>
                <a:gd name="connsiteY10" fmla="*/ 0 h 639129"/>
                <a:gd name="connsiteX11" fmla="*/ 1032334 w 1032333"/>
                <a:gd name="connsiteY11" fmla="*/ 0 h 639129"/>
                <a:gd name="connsiteX12" fmla="*/ 835345 w 1032333"/>
                <a:gd name="connsiteY12" fmla="*/ 639129 h 639129"/>
                <a:gd name="connsiteX13" fmla="*/ 656247 w 1032333"/>
                <a:gd name="connsiteY13" fmla="*/ 639129 h 639129"/>
                <a:gd name="connsiteX14" fmla="*/ 525874 w 1032333"/>
                <a:gd name="connsiteY14" fmla="*/ 297791 h 639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32333" h="639129">
                  <a:moveTo>
                    <a:pt x="525874" y="297791"/>
                  </a:moveTo>
                  <a:lnTo>
                    <a:pt x="387696" y="639129"/>
                  </a:lnTo>
                  <a:lnTo>
                    <a:pt x="221350" y="639129"/>
                  </a:lnTo>
                  <a:lnTo>
                    <a:pt x="0" y="0"/>
                  </a:lnTo>
                  <a:lnTo>
                    <a:pt x="176528" y="0"/>
                  </a:lnTo>
                  <a:lnTo>
                    <a:pt x="319845" y="429477"/>
                  </a:lnTo>
                  <a:lnTo>
                    <a:pt x="452883" y="106110"/>
                  </a:lnTo>
                  <a:lnTo>
                    <a:pt x="411963" y="0"/>
                  </a:lnTo>
                  <a:lnTo>
                    <a:pt x="588491" y="0"/>
                  </a:lnTo>
                  <a:lnTo>
                    <a:pt x="747129" y="429477"/>
                  </a:lnTo>
                  <a:lnTo>
                    <a:pt x="872459" y="0"/>
                  </a:lnTo>
                  <a:lnTo>
                    <a:pt x="1032334" y="0"/>
                  </a:lnTo>
                  <a:lnTo>
                    <a:pt x="835345" y="639129"/>
                  </a:lnTo>
                  <a:lnTo>
                    <a:pt x="656247" y="639129"/>
                  </a:lnTo>
                  <a:lnTo>
                    <a:pt x="525874" y="297791"/>
                  </a:ln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" name="Forme libre 68">
              <a:extLst>
                <a:ext uri="{FF2B5EF4-FFF2-40B4-BE49-F238E27FC236}">
                  <a16:creationId xmlns:a16="http://schemas.microsoft.com/office/drawing/2014/main" id="{B6F76FD3-978C-DB4D-BA9E-C4743DEB124A}"/>
                </a:ext>
              </a:extLst>
            </p:cNvPr>
            <p:cNvSpPr/>
            <p:nvPr/>
          </p:nvSpPr>
          <p:spPr>
            <a:xfrm>
              <a:off x="10742695" y="721617"/>
              <a:ext cx="278179" cy="276355"/>
            </a:xfrm>
            <a:custGeom>
              <a:avLst/>
              <a:gdLst>
                <a:gd name="connsiteX0" fmla="*/ 545001 w 669094"/>
                <a:gd name="connsiteY0" fmla="*/ 651965 h 664705"/>
                <a:gd name="connsiteX1" fmla="*/ 511789 w 669094"/>
                <a:gd name="connsiteY1" fmla="*/ 586740 h 664705"/>
                <a:gd name="connsiteX2" fmla="*/ 316038 w 669094"/>
                <a:gd name="connsiteY2" fmla="*/ 664706 h 664705"/>
                <a:gd name="connsiteX3" fmla="*/ 0 w 669094"/>
                <a:gd name="connsiteY3" fmla="*/ 332305 h 664705"/>
                <a:gd name="connsiteX4" fmla="*/ 316038 w 669094"/>
                <a:gd name="connsiteY4" fmla="*/ 0 h 664705"/>
                <a:gd name="connsiteX5" fmla="*/ 511789 w 669094"/>
                <a:gd name="connsiteY5" fmla="*/ 77966 h 664705"/>
                <a:gd name="connsiteX6" fmla="*/ 545001 w 669094"/>
                <a:gd name="connsiteY6" fmla="*/ 12741 h 664705"/>
                <a:gd name="connsiteX7" fmla="*/ 669094 w 669094"/>
                <a:gd name="connsiteY7" fmla="*/ 12741 h 664705"/>
                <a:gd name="connsiteX8" fmla="*/ 669094 w 669094"/>
                <a:gd name="connsiteY8" fmla="*/ 651870 h 664705"/>
                <a:gd name="connsiteX9" fmla="*/ 545001 w 669094"/>
                <a:gd name="connsiteY9" fmla="*/ 651870 h 664705"/>
                <a:gd name="connsiteX10" fmla="*/ 341542 w 669094"/>
                <a:gd name="connsiteY10" fmla="*/ 154695 h 664705"/>
                <a:gd name="connsiteX11" fmla="*/ 176528 w 669094"/>
                <a:gd name="connsiteY11" fmla="*/ 332401 h 664705"/>
                <a:gd name="connsiteX12" fmla="*/ 341542 w 669094"/>
                <a:gd name="connsiteY12" fmla="*/ 508774 h 664705"/>
                <a:gd name="connsiteX13" fmla="*/ 506555 w 669094"/>
                <a:gd name="connsiteY13" fmla="*/ 332401 h 664705"/>
                <a:gd name="connsiteX14" fmla="*/ 341542 w 669094"/>
                <a:gd name="connsiteY14" fmla="*/ 154695 h 66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69094" h="664705">
                  <a:moveTo>
                    <a:pt x="545001" y="651965"/>
                  </a:moveTo>
                  <a:lnTo>
                    <a:pt x="511789" y="586740"/>
                  </a:lnTo>
                  <a:cubicBezTo>
                    <a:pt x="461923" y="636562"/>
                    <a:pt x="394072" y="664706"/>
                    <a:pt x="316038" y="664706"/>
                  </a:cubicBezTo>
                  <a:cubicBezTo>
                    <a:pt x="147123" y="664706"/>
                    <a:pt x="0" y="531784"/>
                    <a:pt x="0" y="332305"/>
                  </a:cubicBezTo>
                  <a:cubicBezTo>
                    <a:pt x="0" y="132922"/>
                    <a:pt x="147123" y="0"/>
                    <a:pt x="316038" y="0"/>
                  </a:cubicBezTo>
                  <a:cubicBezTo>
                    <a:pt x="394072" y="0"/>
                    <a:pt x="461923" y="28144"/>
                    <a:pt x="511789" y="77966"/>
                  </a:cubicBezTo>
                  <a:lnTo>
                    <a:pt x="545001" y="12741"/>
                  </a:lnTo>
                  <a:lnTo>
                    <a:pt x="669094" y="12741"/>
                  </a:lnTo>
                  <a:lnTo>
                    <a:pt x="669094" y="651870"/>
                  </a:lnTo>
                  <a:lnTo>
                    <a:pt x="545001" y="651870"/>
                  </a:lnTo>
                  <a:close/>
                  <a:moveTo>
                    <a:pt x="341542" y="154695"/>
                  </a:moveTo>
                  <a:cubicBezTo>
                    <a:pt x="246854" y="154695"/>
                    <a:pt x="176528" y="223724"/>
                    <a:pt x="176528" y="332401"/>
                  </a:cubicBezTo>
                  <a:cubicBezTo>
                    <a:pt x="176528" y="441077"/>
                    <a:pt x="246854" y="508774"/>
                    <a:pt x="341542" y="508774"/>
                  </a:cubicBezTo>
                  <a:cubicBezTo>
                    <a:pt x="434897" y="508774"/>
                    <a:pt x="506555" y="441077"/>
                    <a:pt x="506555" y="332401"/>
                  </a:cubicBezTo>
                  <a:cubicBezTo>
                    <a:pt x="506555" y="223724"/>
                    <a:pt x="434897" y="154695"/>
                    <a:pt x="341542" y="154695"/>
                  </a:cubicBez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" name="Forme libre 69">
              <a:extLst>
                <a:ext uri="{FF2B5EF4-FFF2-40B4-BE49-F238E27FC236}">
                  <a16:creationId xmlns:a16="http://schemas.microsoft.com/office/drawing/2014/main" id="{03D98193-BD4E-374E-8F63-719B3F2EBC50}"/>
                </a:ext>
              </a:extLst>
            </p:cNvPr>
            <p:cNvSpPr/>
            <p:nvPr/>
          </p:nvSpPr>
          <p:spPr>
            <a:xfrm>
              <a:off x="11078085" y="721617"/>
              <a:ext cx="173965" cy="271057"/>
            </a:xfrm>
            <a:custGeom>
              <a:avLst/>
              <a:gdLst>
                <a:gd name="connsiteX0" fmla="*/ 175291 w 418433"/>
                <a:gd name="connsiteY0" fmla="*/ 651965 h 651964"/>
                <a:gd name="connsiteX1" fmla="*/ 0 w 418433"/>
                <a:gd name="connsiteY1" fmla="*/ 651965 h 651964"/>
                <a:gd name="connsiteX2" fmla="*/ 0 w 418433"/>
                <a:gd name="connsiteY2" fmla="*/ 12836 h 651964"/>
                <a:gd name="connsiteX3" fmla="*/ 120287 w 418433"/>
                <a:gd name="connsiteY3" fmla="*/ 12836 h 651964"/>
                <a:gd name="connsiteX4" fmla="*/ 163777 w 418433"/>
                <a:gd name="connsiteY4" fmla="*/ 99739 h 651964"/>
                <a:gd name="connsiteX5" fmla="*/ 364667 w 418433"/>
                <a:gd name="connsiteY5" fmla="*/ 0 h 651964"/>
                <a:gd name="connsiteX6" fmla="*/ 418434 w 418433"/>
                <a:gd name="connsiteY6" fmla="*/ 5134 h 651964"/>
                <a:gd name="connsiteX7" fmla="*/ 418434 w 418433"/>
                <a:gd name="connsiteY7" fmla="*/ 172571 h 651964"/>
                <a:gd name="connsiteX8" fmla="*/ 340400 w 418433"/>
                <a:gd name="connsiteY8" fmla="*/ 163633 h 651964"/>
                <a:gd name="connsiteX9" fmla="*/ 175386 w 418433"/>
                <a:gd name="connsiteY9" fmla="*/ 314525 h 651964"/>
                <a:gd name="connsiteX10" fmla="*/ 175386 w 418433"/>
                <a:gd name="connsiteY10" fmla="*/ 651965 h 6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8433" h="651964">
                  <a:moveTo>
                    <a:pt x="175291" y="651965"/>
                  </a:moveTo>
                  <a:lnTo>
                    <a:pt x="0" y="651965"/>
                  </a:lnTo>
                  <a:lnTo>
                    <a:pt x="0" y="12836"/>
                  </a:lnTo>
                  <a:lnTo>
                    <a:pt x="120287" y="12836"/>
                  </a:lnTo>
                  <a:lnTo>
                    <a:pt x="163777" y="99739"/>
                  </a:lnTo>
                  <a:cubicBezTo>
                    <a:pt x="209835" y="39648"/>
                    <a:pt x="278924" y="0"/>
                    <a:pt x="364667" y="0"/>
                  </a:cubicBezTo>
                  <a:cubicBezTo>
                    <a:pt x="385126" y="0"/>
                    <a:pt x="401780" y="2567"/>
                    <a:pt x="418434" y="5134"/>
                  </a:cubicBezTo>
                  <a:lnTo>
                    <a:pt x="418434" y="172571"/>
                  </a:lnTo>
                  <a:cubicBezTo>
                    <a:pt x="399211" y="167436"/>
                    <a:pt x="371138" y="163633"/>
                    <a:pt x="340400" y="163633"/>
                  </a:cubicBezTo>
                  <a:cubicBezTo>
                    <a:pt x="238004" y="163633"/>
                    <a:pt x="175386" y="221157"/>
                    <a:pt x="175386" y="314525"/>
                  </a:cubicBezTo>
                  <a:lnTo>
                    <a:pt x="175386" y="651965"/>
                  </a:ln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" name="Forme libre 70">
              <a:extLst>
                <a:ext uri="{FF2B5EF4-FFF2-40B4-BE49-F238E27FC236}">
                  <a16:creationId xmlns:a16="http://schemas.microsoft.com/office/drawing/2014/main" id="{C7CF6B83-51B2-A04E-87B8-A0823C067874}"/>
                </a:ext>
              </a:extLst>
            </p:cNvPr>
            <p:cNvSpPr/>
            <p:nvPr/>
          </p:nvSpPr>
          <p:spPr>
            <a:xfrm>
              <a:off x="11266967" y="721617"/>
              <a:ext cx="269158" cy="276355"/>
            </a:xfrm>
            <a:custGeom>
              <a:avLst/>
              <a:gdLst>
                <a:gd name="connsiteX0" fmla="*/ 336498 w 647397"/>
                <a:gd name="connsiteY0" fmla="*/ 664706 h 664705"/>
                <a:gd name="connsiteX1" fmla="*/ 0 w 647397"/>
                <a:gd name="connsiteY1" fmla="*/ 332305 h 664705"/>
                <a:gd name="connsiteX2" fmla="*/ 328790 w 647397"/>
                <a:gd name="connsiteY2" fmla="*/ 0 h 664705"/>
                <a:gd name="connsiteX3" fmla="*/ 647398 w 647397"/>
                <a:gd name="connsiteY3" fmla="*/ 329833 h 664705"/>
                <a:gd name="connsiteX4" fmla="*/ 644828 w 647397"/>
                <a:gd name="connsiteY4" fmla="*/ 380986 h 664705"/>
                <a:gd name="connsiteX5" fmla="*/ 172722 w 647397"/>
                <a:gd name="connsiteY5" fmla="*/ 380986 h 664705"/>
                <a:gd name="connsiteX6" fmla="*/ 336498 w 647397"/>
                <a:gd name="connsiteY6" fmla="*/ 517807 h 664705"/>
                <a:gd name="connsiteX7" fmla="*/ 468300 w 647397"/>
                <a:gd name="connsiteY7" fmla="*/ 437274 h 664705"/>
                <a:gd name="connsiteX8" fmla="*/ 642258 w 647397"/>
                <a:gd name="connsiteY8" fmla="*/ 437274 h 664705"/>
                <a:gd name="connsiteX9" fmla="*/ 336498 w 647397"/>
                <a:gd name="connsiteY9" fmla="*/ 664706 h 664705"/>
                <a:gd name="connsiteX10" fmla="*/ 175291 w 647397"/>
                <a:gd name="connsiteY10" fmla="*/ 263372 h 664705"/>
                <a:gd name="connsiteX11" fmla="*/ 474676 w 647397"/>
                <a:gd name="connsiteY11" fmla="*/ 263372 h 664705"/>
                <a:gd name="connsiteX12" fmla="*/ 323746 w 647397"/>
                <a:gd name="connsiteY12" fmla="*/ 143191 h 664705"/>
                <a:gd name="connsiteX13" fmla="*/ 175291 w 647397"/>
                <a:gd name="connsiteY13" fmla="*/ 263372 h 66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7397" h="664705">
                  <a:moveTo>
                    <a:pt x="336498" y="664706"/>
                  </a:moveTo>
                  <a:cubicBezTo>
                    <a:pt x="142079" y="664706"/>
                    <a:pt x="0" y="531784"/>
                    <a:pt x="0" y="332305"/>
                  </a:cubicBezTo>
                  <a:cubicBezTo>
                    <a:pt x="0" y="132922"/>
                    <a:pt x="136845" y="0"/>
                    <a:pt x="328790" y="0"/>
                  </a:cubicBezTo>
                  <a:cubicBezTo>
                    <a:pt x="514263" y="0"/>
                    <a:pt x="647398" y="126552"/>
                    <a:pt x="647398" y="329833"/>
                  </a:cubicBezTo>
                  <a:cubicBezTo>
                    <a:pt x="647398" y="345141"/>
                    <a:pt x="646160" y="364347"/>
                    <a:pt x="644828" y="380986"/>
                  </a:cubicBezTo>
                  <a:lnTo>
                    <a:pt x="172722" y="380986"/>
                  </a:lnTo>
                  <a:cubicBezTo>
                    <a:pt x="188043" y="476827"/>
                    <a:pt x="253325" y="517807"/>
                    <a:pt x="336498" y="517807"/>
                  </a:cubicBezTo>
                  <a:cubicBezTo>
                    <a:pt x="411963" y="517807"/>
                    <a:pt x="454215" y="483293"/>
                    <a:pt x="468300" y="437274"/>
                  </a:cubicBezTo>
                  <a:lnTo>
                    <a:pt x="642258" y="437274"/>
                  </a:lnTo>
                  <a:cubicBezTo>
                    <a:pt x="620561" y="572668"/>
                    <a:pt x="499037" y="664706"/>
                    <a:pt x="336498" y="664706"/>
                  </a:cubicBezTo>
                  <a:close/>
                  <a:moveTo>
                    <a:pt x="175291" y="263372"/>
                  </a:moveTo>
                  <a:lnTo>
                    <a:pt x="474676" y="263372"/>
                  </a:lnTo>
                  <a:cubicBezTo>
                    <a:pt x="461923" y="180272"/>
                    <a:pt x="395309" y="143191"/>
                    <a:pt x="323746" y="143191"/>
                  </a:cubicBezTo>
                  <a:cubicBezTo>
                    <a:pt x="255895" y="143191"/>
                    <a:pt x="195751" y="172571"/>
                    <a:pt x="175291" y="263372"/>
                  </a:cubicBez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" name="Forme libre 71">
              <a:extLst>
                <a:ext uri="{FF2B5EF4-FFF2-40B4-BE49-F238E27FC236}">
                  <a16:creationId xmlns:a16="http://schemas.microsoft.com/office/drawing/2014/main" id="{DD5B5E7F-FD4D-D34D-8678-91EB790A47B1}"/>
                </a:ext>
              </a:extLst>
            </p:cNvPr>
            <p:cNvSpPr/>
            <p:nvPr/>
          </p:nvSpPr>
          <p:spPr>
            <a:xfrm>
              <a:off x="9333441" y="1104267"/>
              <a:ext cx="243639" cy="340116"/>
            </a:xfrm>
            <a:custGeom>
              <a:avLst/>
              <a:gdLst>
                <a:gd name="connsiteX0" fmla="*/ 586017 w 586016"/>
                <a:gd name="connsiteY0" fmla="*/ 0 h 818070"/>
                <a:gd name="connsiteX1" fmla="*/ 586017 w 586016"/>
                <a:gd name="connsiteY1" fmla="*/ 164869 h 818070"/>
                <a:gd name="connsiteX2" fmla="*/ 179193 w 586016"/>
                <a:gd name="connsiteY2" fmla="*/ 164869 h 818070"/>
                <a:gd name="connsiteX3" fmla="*/ 179193 w 586016"/>
                <a:gd name="connsiteY3" fmla="*/ 369387 h 818070"/>
                <a:gd name="connsiteX4" fmla="*/ 547666 w 586016"/>
                <a:gd name="connsiteY4" fmla="*/ 369387 h 818070"/>
                <a:gd name="connsiteX5" fmla="*/ 547666 w 586016"/>
                <a:gd name="connsiteY5" fmla="*/ 526649 h 818070"/>
                <a:gd name="connsiteX6" fmla="*/ 179193 w 586016"/>
                <a:gd name="connsiteY6" fmla="*/ 526649 h 818070"/>
                <a:gd name="connsiteX7" fmla="*/ 179193 w 586016"/>
                <a:gd name="connsiteY7" fmla="*/ 818070 h 818070"/>
                <a:gd name="connsiteX8" fmla="*/ 0 w 586016"/>
                <a:gd name="connsiteY8" fmla="*/ 818070 h 818070"/>
                <a:gd name="connsiteX9" fmla="*/ 0 w 586016"/>
                <a:gd name="connsiteY9" fmla="*/ 0 h 818070"/>
                <a:gd name="connsiteX10" fmla="*/ 586017 w 586016"/>
                <a:gd name="connsiteY10" fmla="*/ 0 h 81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6016" h="818070">
                  <a:moveTo>
                    <a:pt x="586017" y="0"/>
                  </a:moveTo>
                  <a:lnTo>
                    <a:pt x="586017" y="164869"/>
                  </a:lnTo>
                  <a:lnTo>
                    <a:pt x="179193" y="164869"/>
                  </a:lnTo>
                  <a:lnTo>
                    <a:pt x="179193" y="369387"/>
                  </a:lnTo>
                  <a:lnTo>
                    <a:pt x="547666" y="369387"/>
                  </a:lnTo>
                  <a:lnTo>
                    <a:pt x="547666" y="526649"/>
                  </a:lnTo>
                  <a:lnTo>
                    <a:pt x="179193" y="526649"/>
                  </a:lnTo>
                  <a:lnTo>
                    <a:pt x="179193" y="818070"/>
                  </a:lnTo>
                  <a:lnTo>
                    <a:pt x="0" y="818070"/>
                  </a:lnTo>
                  <a:lnTo>
                    <a:pt x="0" y="0"/>
                  </a:lnTo>
                  <a:lnTo>
                    <a:pt x="586017" y="0"/>
                  </a:ln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" name="Forme libre 72">
              <a:extLst>
                <a:ext uri="{FF2B5EF4-FFF2-40B4-BE49-F238E27FC236}">
                  <a16:creationId xmlns:a16="http://schemas.microsoft.com/office/drawing/2014/main" id="{4379EB2D-52B3-BE4D-985B-CB7542CDF803}"/>
                </a:ext>
              </a:extLst>
            </p:cNvPr>
            <p:cNvSpPr/>
            <p:nvPr/>
          </p:nvSpPr>
          <p:spPr>
            <a:xfrm>
              <a:off x="9592709" y="1173365"/>
              <a:ext cx="278179" cy="276355"/>
            </a:xfrm>
            <a:custGeom>
              <a:avLst/>
              <a:gdLst>
                <a:gd name="connsiteX0" fmla="*/ 545001 w 669094"/>
                <a:gd name="connsiteY0" fmla="*/ 651965 h 664705"/>
                <a:gd name="connsiteX1" fmla="*/ 511789 w 669094"/>
                <a:gd name="connsiteY1" fmla="*/ 586740 h 664705"/>
                <a:gd name="connsiteX2" fmla="*/ 316038 w 669094"/>
                <a:gd name="connsiteY2" fmla="*/ 664706 h 664705"/>
                <a:gd name="connsiteX3" fmla="*/ 0 w 669094"/>
                <a:gd name="connsiteY3" fmla="*/ 332305 h 664705"/>
                <a:gd name="connsiteX4" fmla="*/ 316038 w 669094"/>
                <a:gd name="connsiteY4" fmla="*/ 0 h 664705"/>
                <a:gd name="connsiteX5" fmla="*/ 511789 w 669094"/>
                <a:gd name="connsiteY5" fmla="*/ 77966 h 664705"/>
                <a:gd name="connsiteX6" fmla="*/ 545001 w 669094"/>
                <a:gd name="connsiteY6" fmla="*/ 12741 h 664705"/>
                <a:gd name="connsiteX7" fmla="*/ 669095 w 669094"/>
                <a:gd name="connsiteY7" fmla="*/ 12741 h 664705"/>
                <a:gd name="connsiteX8" fmla="*/ 669095 w 669094"/>
                <a:gd name="connsiteY8" fmla="*/ 651870 h 664705"/>
                <a:gd name="connsiteX9" fmla="*/ 545001 w 669094"/>
                <a:gd name="connsiteY9" fmla="*/ 651870 h 664705"/>
                <a:gd name="connsiteX10" fmla="*/ 341637 w 669094"/>
                <a:gd name="connsiteY10" fmla="*/ 154696 h 664705"/>
                <a:gd name="connsiteX11" fmla="*/ 176624 w 669094"/>
                <a:gd name="connsiteY11" fmla="*/ 332401 h 664705"/>
                <a:gd name="connsiteX12" fmla="*/ 341637 w 669094"/>
                <a:gd name="connsiteY12" fmla="*/ 508774 h 664705"/>
                <a:gd name="connsiteX13" fmla="*/ 506650 w 669094"/>
                <a:gd name="connsiteY13" fmla="*/ 332401 h 664705"/>
                <a:gd name="connsiteX14" fmla="*/ 341637 w 669094"/>
                <a:gd name="connsiteY14" fmla="*/ 154696 h 66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69094" h="664705">
                  <a:moveTo>
                    <a:pt x="545001" y="651965"/>
                  </a:moveTo>
                  <a:lnTo>
                    <a:pt x="511789" y="586740"/>
                  </a:lnTo>
                  <a:cubicBezTo>
                    <a:pt x="461924" y="636562"/>
                    <a:pt x="394072" y="664706"/>
                    <a:pt x="316038" y="664706"/>
                  </a:cubicBezTo>
                  <a:cubicBezTo>
                    <a:pt x="147123" y="664706"/>
                    <a:pt x="0" y="531784"/>
                    <a:pt x="0" y="332305"/>
                  </a:cubicBezTo>
                  <a:cubicBezTo>
                    <a:pt x="0" y="132922"/>
                    <a:pt x="147123" y="0"/>
                    <a:pt x="316038" y="0"/>
                  </a:cubicBezTo>
                  <a:cubicBezTo>
                    <a:pt x="394072" y="0"/>
                    <a:pt x="461924" y="28144"/>
                    <a:pt x="511789" y="77966"/>
                  </a:cubicBezTo>
                  <a:lnTo>
                    <a:pt x="545001" y="12741"/>
                  </a:lnTo>
                  <a:lnTo>
                    <a:pt x="669095" y="12741"/>
                  </a:lnTo>
                  <a:lnTo>
                    <a:pt x="669095" y="651870"/>
                  </a:lnTo>
                  <a:lnTo>
                    <a:pt x="545001" y="651870"/>
                  </a:lnTo>
                  <a:close/>
                  <a:moveTo>
                    <a:pt x="341637" y="154696"/>
                  </a:moveTo>
                  <a:cubicBezTo>
                    <a:pt x="246949" y="154696"/>
                    <a:pt x="176624" y="223724"/>
                    <a:pt x="176624" y="332401"/>
                  </a:cubicBezTo>
                  <a:cubicBezTo>
                    <a:pt x="176624" y="441077"/>
                    <a:pt x="246949" y="508774"/>
                    <a:pt x="341637" y="508774"/>
                  </a:cubicBezTo>
                  <a:cubicBezTo>
                    <a:pt x="434992" y="508774"/>
                    <a:pt x="506650" y="441077"/>
                    <a:pt x="506650" y="332401"/>
                  </a:cubicBezTo>
                  <a:cubicBezTo>
                    <a:pt x="506650" y="223724"/>
                    <a:pt x="434992" y="154696"/>
                    <a:pt x="341637" y="154696"/>
                  </a:cubicBez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" name="Forme libre 73">
              <a:extLst>
                <a:ext uri="{FF2B5EF4-FFF2-40B4-BE49-F238E27FC236}">
                  <a16:creationId xmlns:a16="http://schemas.microsoft.com/office/drawing/2014/main" id="{8112D24F-1FAE-7446-BAA4-CC970C435EE4}"/>
                </a:ext>
              </a:extLst>
            </p:cNvPr>
            <p:cNvSpPr/>
            <p:nvPr/>
          </p:nvSpPr>
          <p:spPr>
            <a:xfrm>
              <a:off x="9912509" y="1173365"/>
              <a:ext cx="276082" cy="276355"/>
            </a:xfrm>
            <a:custGeom>
              <a:avLst/>
              <a:gdLst>
                <a:gd name="connsiteX0" fmla="*/ 333929 w 664050"/>
                <a:gd name="connsiteY0" fmla="*/ 664706 h 664705"/>
                <a:gd name="connsiteX1" fmla="*/ 0 w 664050"/>
                <a:gd name="connsiteY1" fmla="*/ 332305 h 664705"/>
                <a:gd name="connsiteX2" fmla="*/ 333929 w 664050"/>
                <a:gd name="connsiteY2" fmla="*/ 0 h 664705"/>
                <a:gd name="connsiteX3" fmla="*/ 664051 w 664050"/>
                <a:gd name="connsiteY3" fmla="*/ 281247 h 664705"/>
                <a:gd name="connsiteX4" fmla="*/ 484953 w 664050"/>
                <a:gd name="connsiteY4" fmla="*/ 281247 h 664705"/>
                <a:gd name="connsiteX5" fmla="*/ 334024 w 664050"/>
                <a:gd name="connsiteY5" fmla="*/ 154696 h 664705"/>
                <a:gd name="connsiteX6" fmla="*/ 176623 w 664050"/>
                <a:gd name="connsiteY6" fmla="*/ 332401 h 664705"/>
                <a:gd name="connsiteX7" fmla="*/ 334024 w 664050"/>
                <a:gd name="connsiteY7" fmla="*/ 508774 h 664705"/>
                <a:gd name="connsiteX8" fmla="*/ 484953 w 664050"/>
                <a:gd name="connsiteY8" fmla="*/ 383554 h 664705"/>
                <a:gd name="connsiteX9" fmla="*/ 664051 w 664050"/>
                <a:gd name="connsiteY9" fmla="*/ 383554 h 664705"/>
                <a:gd name="connsiteX10" fmla="*/ 333929 w 664050"/>
                <a:gd name="connsiteY10" fmla="*/ 664706 h 66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4050" h="664705">
                  <a:moveTo>
                    <a:pt x="333929" y="664706"/>
                  </a:moveTo>
                  <a:cubicBezTo>
                    <a:pt x="143316" y="664706"/>
                    <a:pt x="0" y="531784"/>
                    <a:pt x="0" y="332305"/>
                  </a:cubicBezTo>
                  <a:cubicBezTo>
                    <a:pt x="0" y="132922"/>
                    <a:pt x="143316" y="0"/>
                    <a:pt x="333929" y="0"/>
                  </a:cubicBezTo>
                  <a:cubicBezTo>
                    <a:pt x="510457" y="0"/>
                    <a:pt x="642258" y="109913"/>
                    <a:pt x="664051" y="281247"/>
                  </a:cubicBezTo>
                  <a:lnTo>
                    <a:pt x="484953" y="281247"/>
                  </a:lnTo>
                  <a:cubicBezTo>
                    <a:pt x="465730" y="200714"/>
                    <a:pt x="408156" y="154696"/>
                    <a:pt x="334024" y="154696"/>
                  </a:cubicBezTo>
                  <a:cubicBezTo>
                    <a:pt x="244475" y="154696"/>
                    <a:pt x="176623" y="222393"/>
                    <a:pt x="176623" y="332401"/>
                  </a:cubicBezTo>
                  <a:cubicBezTo>
                    <a:pt x="176623" y="442313"/>
                    <a:pt x="244475" y="508774"/>
                    <a:pt x="334024" y="508774"/>
                  </a:cubicBezTo>
                  <a:cubicBezTo>
                    <a:pt x="408251" y="508774"/>
                    <a:pt x="465825" y="464087"/>
                    <a:pt x="484953" y="383554"/>
                  </a:cubicBezTo>
                  <a:lnTo>
                    <a:pt x="664051" y="383554"/>
                  </a:lnTo>
                  <a:cubicBezTo>
                    <a:pt x="642258" y="554793"/>
                    <a:pt x="510457" y="664706"/>
                    <a:pt x="333929" y="664706"/>
                  </a:cubicBez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" name="Forme libre 74">
              <a:extLst>
                <a:ext uri="{FF2B5EF4-FFF2-40B4-BE49-F238E27FC236}">
                  <a16:creationId xmlns:a16="http://schemas.microsoft.com/office/drawing/2014/main" id="{96DC43BA-0B2C-A745-BF67-895D90385F8C}"/>
                </a:ext>
              </a:extLst>
            </p:cNvPr>
            <p:cNvSpPr/>
            <p:nvPr/>
          </p:nvSpPr>
          <p:spPr>
            <a:xfrm>
              <a:off x="10224161" y="1114901"/>
              <a:ext cx="154816" cy="329482"/>
            </a:xfrm>
            <a:custGeom>
              <a:avLst/>
              <a:gdLst>
                <a:gd name="connsiteX0" fmla="*/ 95 w 372374"/>
                <a:gd name="connsiteY0" fmla="*/ 0 h 792493"/>
                <a:gd name="connsiteX1" fmla="*/ 175387 w 372374"/>
                <a:gd name="connsiteY1" fmla="*/ 0 h 792493"/>
                <a:gd name="connsiteX2" fmla="*/ 175387 w 372374"/>
                <a:gd name="connsiteY2" fmla="*/ 153364 h 792493"/>
                <a:gd name="connsiteX3" fmla="*/ 359623 w 372374"/>
                <a:gd name="connsiteY3" fmla="*/ 153364 h 792493"/>
                <a:gd name="connsiteX4" fmla="*/ 359623 w 372374"/>
                <a:gd name="connsiteY4" fmla="*/ 299122 h 792493"/>
                <a:gd name="connsiteX5" fmla="*/ 175387 w 372374"/>
                <a:gd name="connsiteY5" fmla="*/ 299122 h 792493"/>
                <a:gd name="connsiteX6" fmla="*/ 175387 w 372374"/>
                <a:gd name="connsiteY6" fmla="*/ 540721 h 792493"/>
                <a:gd name="connsiteX7" fmla="*/ 271311 w 372374"/>
                <a:gd name="connsiteY7" fmla="*/ 631428 h 792493"/>
                <a:gd name="connsiteX8" fmla="*/ 372375 w 372374"/>
                <a:gd name="connsiteY8" fmla="*/ 631428 h 792493"/>
                <a:gd name="connsiteX9" fmla="*/ 372375 w 372374"/>
                <a:gd name="connsiteY9" fmla="*/ 792494 h 792493"/>
                <a:gd name="connsiteX10" fmla="*/ 261034 w 372374"/>
                <a:gd name="connsiteY10" fmla="*/ 792494 h 792493"/>
                <a:gd name="connsiteX11" fmla="*/ 0 w 372374"/>
                <a:gd name="connsiteY11" fmla="*/ 554698 h 792493"/>
                <a:gd name="connsiteX12" fmla="*/ 0 w 372374"/>
                <a:gd name="connsiteY12" fmla="*/ 0 h 792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2374" h="792493">
                  <a:moveTo>
                    <a:pt x="95" y="0"/>
                  </a:moveTo>
                  <a:lnTo>
                    <a:pt x="175387" y="0"/>
                  </a:lnTo>
                  <a:lnTo>
                    <a:pt x="175387" y="153364"/>
                  </a:lnTo>
                  <a:lnTo>
                    <a:pt x="359623" y="153364"/>
                  </a:lnTo>
                  <a:lnTo>
                    <a:pt x="359623" y="299122"/>
                  </a:lnTo>
                  <a:lnTo>
                    <a:pt x="175387" y="299122"/>
                  </a:lnTo>
                  <a:lnTo>
                    <a:pt x="175387" y="540721"/>
                  </a:lnTo>
                  <a:cubicBezTo>
                    <a:pt x="175387" y="603379"/>
                    <a:pt x="202222" y="631428"/>
                    <a:pt x="271311" y="631428"/>
                  </a:cubicBezTo>
                  <a:lnTo>
                    <a:pt x="372375" y="631428"/>
                  </a:lnTo>
                  <a:lnTo>
                    <a:pt x="372375" y="792494"/>
                  </a:lnTo>
                  <a:lnTo>
                    <a:pt x="261034" y="792494"/>
                  </a:lnTo>
                  <a:cubicBezTo>
                    <a:pt x="75560" y="792494"/>
                    <a:pt x="0" y="719662"/>
                    <a:pt x="0" y="55469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" name="Forme libre 75">
              <a:extLst>
                <a:ext uri="{FF2B5EF4-FFF2-40B4-BE49-F238E27FC236}">
                  <a16:creationId xmlns:a16="http://schemas.microsoft.com/office/drawing/2014/main" id="{E71814EC-BFF7-2C42-BABC-803ADBBBC77C}"/>
                </a:ext>
              </a:extLst>
            </p:cNvPr>
            <p:cNvSpPr/>
            <p:nvPr/>
          </p:nvSpPr>
          <p:spPr>
            <a:xfrm>
              <a:off x="10398522" y="1173365"/>
              <a:ext cx="285618" cy="276355"/>
            </a:xfrm>
            <a:custGeom>
              <a:avLst/>
              <a:gdLst>
                <a:gd name="connsiteX0" fmla="*/ 342874 w 686985"/>
                <a:gd name="connsiteY0" fmla="*/ 664706 h 664705"/>
                <a:gd name="connsiteX1" fmla="*/ 0 w 686985"/>
                <a:gd name="connsiteY1" fmla="*/ 332305 h 664705"/>
                <a:gd name="connsiteX2" fmla="*/ 342874 w 686985"/>
                <a:gd name="connsiteY2" fmla="*/ 0 h 664705"/>
                <a:gd name="connsiteX3" fmla="*/ 686985 w 686985"/>
                <a:gd name="connsiteY3" fmla="*/ 332305 h 664705"/>
                <a:gd name="connsiteX4" fmla="*/ 342874 w 686985"/>
                <a:gd name="connsiteY4" fmla="*/ 664706 h 664705"/>
                <a:gd name="connsiteX5" fmla="*/ 342874 w 686985"/>
                <a:gd name="connsiteY5" fmla="*/ 154696 h 664705"/>
                <a:gd name="connsiteX6" fmla="*/ 176528 w 686985"/>
                <a:gd name="connsiteY6" fmla="*/ 332401 h 664705"/>
                <a:gd name="connsiteX7" fmla="*/ 342874 w 686985"/>
                <a:gd name="connsiteY7" fmla="*/ 508774 h 664705"/>
                <a:gd name="connsiteX8" fmla="*/ 510457 w 686985"/>
                <a:gd name="connsiteY8" fmla="*/ 332401 h 664705"/>
                <a:gd name="connsiteX9" fmla="*/ 342874 w 686985"/>
                <a:gd name="connsiteY9" fmla="*/ 154696 h 66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6985" h="664705">
                  <a:moveTo>
                    <a:pt x="342874" y="664706"/>
                  </a:moveTo>
                  <a:cubicBezTo>
                    <a:pt x="145886" y="664706"/>
                    <a:pt x="0" y="531784"/>
                    <a:pt x="0" y="332305"/>
                  </a:cubicBezTo>
                  <a:cubicBezTo>
                    <a:pt x="0" y="132922"/>
                    <a:pt x="145886" y="0"/>
                    <a:pt x="342874" y="0"/>
                  </a:cubicBezTo>
                  <a:cubicBezTo>
                    <a:pt x="539863" y="0"/>
                    <a:pt x="686985" y="132922"/>
                    <a:pt x="686985" y="332305"/>
                  </a:cubicBezTo>
                  <a:cubicBezTo>
                    <a:pt x="686985" y="531784"/>
                    <a:pt x="539863" y="664706"/>
                    <a:pt x="342874" y="664706"/>
                  </a:cubicBezTo>
                  <a:close/>
                  <a:moveTo>
                    <a:pt x="342874" y="154696"/>
                  </a:moveTo>
                  <a:cubicBezTo>
                    <a:pt x="246949" y="154696"/>
                    <a:pt x="176528" y="223724"/>
                    <a:pt x="176528" y="332401"/>
                  </a:cubicBezTo>
                  <a:cubicBezTo>
                    <a:pt x="176528" y="441077"/>
                    <a:pt x="246854" y="508774"/>
                    <a:pt x="342874" y="508774"/>
                  </a:cubicBezTo>
                  <a:cubicBezTo>
                    <a:pt x="438799" y="508774"/>
                    <a:pt x="510457" y="441077"/>
                    <a:pt x="510457" y="332401"/>
                  </a:cubicBezTo>
                  <a:cubicBezTo>
                    <a:pt x="510457" y="223724"/>
                    <a:pt x="438799" y="154696"/>
                    <a:pt x="342874" y="154696"/>
                  </a:cubicBez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" name="Forme libre 76">
              <a:extLst>
                <a:ext uri="{FF2B5EF4-FFF2-40B4-BE49-F238E27FC236}">
                  <a16:creationId xmlns:a16="http://schemas.microsoft.com/office/drawing/2014/main" id="{4CAC6437-551F-BE45-9948-C9FE65B4156A}"/>
                </a:ext>
              </a:extLst>
            </p:cNvPr>
            <p:cNvSpPr/>
            <p:nvPr/>
          </p:nvSpPr>
          <p:spPr>
            <a:xfrm>
              <a:off x="10725128" y="1173365"/>
              <a:ext cx="173965" cy="271057"/>
            </a:xfrm>
            <a:custGeom>
              <a:avLst/>
              <a:gdLst>
                <a:gd name="connsiteX0" fmla="*/ 175291 w 418433"/>
                <a:gd name="connsiteY0" fmla="*/ 651965 h 651964"/>
                <a:gd name="connsiteX1" fmla="*/ 0 w 418433"/>
                <a:gd name="connsiteY1" fmla="*/ 651965 h 651964"/>
                <a:gd name="connsiteX2" fmla="*/ 0 w 418433"/>
                <a:gd name="connsiteY2" fmla="*/ 12836 h 651964"/>
                <a:gd name="connsiteX3" fmla="*/ 120287 w 418433"/>
                <a:gd name="connsiteY3" fmla="*/ 12836 h 651964"/>
                <a:gd name="connsiteX4" fmla="*/ 163776 w 418433"/>
                <a:gd name="connsiteY4" fmla="*/ 99739 h 651964"/>
                <a:gd name="connsiteX5" fmla="*/ 364666 w 418433"/>
                <a:gd name="connsiteY5" fmla="*/ 0 h 651964"/>
                <a:gd name="connsiteX6" fmla="*/ 418434 w 418433"/>
                <a:gd name="connsiteY6" fmla="*/ 5134 h 651964"/>
                <a:gd name="connsiteX7" fmla="*/ 418434 w 418433"/>
                <a:gd name="connsiteY7" fmla="*/ 172571 h 651964"/>
                <a:gd name="connsiteX8" fmla="*/ 340400 w 418433"/>
                <a:gd name="connsiteY8" fmla="*/ 163633 h 651964"/>
                <a:gd name="connsiteX9" fmla="*/ 175386 w 418433"/>
                <a:gd name="connsiteY9" fmla="*/ 314525 h 651964"/>
                <a:gd name="connsiteX10" fmla="*/ 175386 w 418433"/>
                <a:gd name="connsiteY10" fmla="*/ 651965 h 6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8433" h="651964">
                  <a:moveTo>
                    <a:pt x="175291" y="651965"/>
                  </a:moveTo>
                  <a:lnTo>
                    <a:pt x="0" y="651965"/>
                  </a:lnTo>
                  <a:lnTo>
                    <a:pt x="0" y="12836"/>
                  </a:lnTo>
                  <a:lnTo>
                    <a:pt x="120287" y="12836"/>
                  </a:lnTo>
                  <a:lnTo>
                    <a:pt x="163776" y="99739"/>
                  </a:lnTo>
                  <a:cubicBezTo>
                    <a:pt x="209835" y="39648"/>
                    <a:pt x="278924" y="0"/>
                    <a:pt x="364666" y="0"/>
                  </a:cubicBezTo>
                  <a:cubicBezTo>
                    <a:pt x="385127" y="0"/>
                    <a:pt x="401780" y="2567"/>
                    <a:pt x="418434" y="5134"/>
                  </a:cubicBezTo>
                  <a:lnTo>
                    <a:pt x="418434" y="172571"/>
                  </a:lnTo>
                  <a:cubicBezTo>
                    <a:pt x="399211" y="167436"/>
                    <a:pt x="371138" y="163633"/>
                    <a:pt x="340400" y="163633"/>
                  </a:cubicBezTo>
                  <a:cubicBezTo>
                    <a:pt x="238004" y="163633"/>
                    <a:pt x="175386" y="221157"/>
                    <a:pt x="175386" y="314525"/>
                  </a:cubicBezTo>
                  <a:lnTo>
                    <a:pt x="175386" y="651965"/>
                  </a:ln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8" name="Forme libre 77">
              <a:extLst>
                <a:ext uri="{FF2B5EF4-FFF2-40B4-BE49-F238E27FC236}">
                  <a16:creationId xmlns:a16="http://schemas.microsoft.com/office/drawing/2014/main" id="{FBDD00AF-2799-3445-9753-4623B94094E6}"/>
                </a:ext>
              </a:extLst>
            </p:cNvPr>
            <p:cNvSpPr/>
            <p:nvPr/>
          </p:nvSpPr>
          <p:spPr>
            <a:xfrm>
              <a:off x="10913022" y="1178702"/>
              <a:ext cx="292026" cy="372017"/>
            </a:xfrm>
            <a:custGeom>
              <a:avLst/>
              <a:gdLst>
                <a:gd name="connsiteX0" fmla="*/ 298147 w 702401"/>
                <a:gd name="connsiteY0" fmla="*/ 639129 h 894799"/>
                <a:gd name="connsiteX1" fmla="*/ 244380 w 702401"/>
                <a:gd name="connsiteY1" fmla="*/ 639129 h 894799"/>
                <a:gd name="connsiteX2" fmla="*/ 0 w 702401"/>
                <a:gd name="connsiteY2" fmla="*/ 0 h 894799"/>
                <a:gd name="connsiteX3" fmla="*/ 181667 w 702401"/>
                <a:gd name="connsiteY3" fmla="*/ 0 h 894799"/>
                <a:gd name="connsiteX4" fmla="*/ 356958 w 702401"/>
                <a:gd name="connsiteY4" fmla="*/ 475496 h 894799"/>
                <a:gd name="connsiteX5" fmla="*/ 527110 w 702401"/>
                <a:gd name="connsiteY5" fmla="*/ 0 h 894799"/>
                <a:gd name="connsiteX6" fmla="*/ 702402 w 702401"/>
                <a:gd name="connsiteY6" fmla="*/ 0 h 894799"/>
                <a:gd name="connsiteX7" fmla="*/ 450409 w 702401"/>
                <a:gd name="connsiteY7" fmla="*/ 690282 h 894799"/>
                <a:gd name="connsiteX8" fmla="*/ 181762 w 702401"/>
                <a:gd name="connsiteY8" fmla="*/ 894800 h 894799"/>
                <a:gd name="connsiteX9" fmla="*/ 80699 w 702401"/>
                <a:gd name="connsiteY9" fmla="*/ 882059 h 894799"/>
                <a:gd name="connsiteX10" fmla="*/ 80699 w 702401"/>
                <a:gd name="connsiteY10" fmla="*/ 727364 h 894799"/>
                <a:gd name="connsiteX11" fmla="*/ 174054 w 702401"/>
                <a:gd name="connsiteY11" fmla="*/ 740104 h 894799"/>
                <a:gd name="connsiteX12" fmla="*/ 296910 w 702401"/>
                <a:gd name="connsiteY12" fmla="*/ 644264 h 894799"/>
                <a:gd name="connsiteX13" fmla="*/ 298147 w 702401"/>
                <a:gd name="connsiteY13" fmla="*/ 639129 h 89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2401" h="894799">
                  <a:moveTo>
                    <a:pt x="298147" y="639129"/>
                  </a:moveTo>
                  <a:lnTo>
                    <a:pt x="244380" y="639129"/>
                  </a:lnTo>
                  <a:lnTo>
                    <a:pt x="0" y="0"/>
                  </a:lnTo>
                  <a:lnTo>
                    <a:pt x="181667" y="0"/>
                  </a:lnTo>
                  <a:lnTo>
                    <a:pt x="356958" y="475496"/>
                  </a:lnTo>
                  <a:lnTo>
                    <a:pt x="527110" y="0"/>
                  </a:lnTo>
                  <a:lnTo>
                    <a:pt x="702402" y="0"/>
                  </a:lnTo>
                  <a:lnTo>
                    <a:pt x="450409" y="690282"/>
                  </a:lnTo>
                  <a:cubicBezTo>
                    <a:pt x="395404" y="859050"/>
                    <a:pt x="307092" y="894800"/>
                    <a:pt x="181762" y="894800"/>
                  </a:cubicBezTo>
                  <a:cubicBezTo>
                    <a:pt x="148455" y="894800"/>
                    <a:pt x="113911" y="889666"/>
                    <a:pt x="80699" y="882059"/>
                  </a:cubicBezTo>
                  <a:lnTo>
                    <a:pt x="80699" y="727364"/>
                  </a:lnTo>
                  <a:cubicBezTo>
                    <a:pt x="112674" y="735065"/>
                    <a:pt x="142079" y="740104"/>
                    <a:pt x="174054" y="740104"/>
                  </a:cubicBezTo>
                  <a:cubicBezTo>
                    <a:pt x="241906" y="740104"/>
                    <a:pt x="268742" y="722229"/>
                    <a:pt x="296910" y="644264"/>
                  </a:cubicBezTo>
                  <a:lnTo>
                    <a:pt x="298147" y="639129"/>
                  </a:ln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840068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Espace réservé pour une image  11">
            <a:extLst>
              <a:ext uri="{FF2B5EF4-FFF2-40B4-BE49-F238E27FC236}">
                <a16:creationId xmlns:a16="http://schemas.microsoft.com/office/drawing/2014/main" id="{2D2963E7-31E6-554B-876C-39B8C8385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2324" y="5261008"/>
            <a:ext cx="10912000" cy="403957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ct val="75000"/>
              </a:lnSpc>
              <a:defRPr lang="en-GB" sz="28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Presentation title</a:t>
            </a:r>
          </a:p>
        </p:txBody>
      </p:sp>
      <p:sp>
        <p:nvSpPr>
          <p:cNvPr id="8" name="Sous-titre 2">
            <a:extLst>
              <a:ext uri="{FF2B5EF4-FFF2-40B4-BE49-F238E27FC236}">
                <a16:creationId xmlns:a16="http://schemas.microsoft.com/office/drawing/2014/main" id="{B6B0BE4C-9A25-4D0D-9CC3-4D42C3704D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0819" y="5718191"/>
            <a:ext cx="10890330" cy="1938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GB" sz="1400" strike="noStrike" kern="1200" cap="all" baseline="0" noProof="0" dirty="0">
                <a:solidFill>
                  <a:schemeClr val="bg1"/>
                </a:solidFill>
                <a:latin typeface="Renault Group Light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 or presentation subtitle</a:t>
            </a:r>
          </a:p>
        </p:txBody>
      </p:sp>
      <p:sp>
        <p:nvSpPr>
          <p:cNvPr id="12" name="Forme libre 11">
            <a:extLst>
              <a:ext uri="{FF2B5EF4-FFF2-40B4-BE49-F238E27FC236}">
                <a16:creationId xmlns:a16="http://schemas.microsoft.com/office/drawing/2014/main" id="{0FB2424B-10F5-1B41-ADBD-C57057C87C19}"/>
              </a:ext>
            </a:extLst>
          </p:cNvPr>
          <p:cNvSpPr/>
          <p:nvPr/>
        </p:nvSpPr>
        <p:spPr>
          <a:xfrm>
            <a:off x="1333500" y="361950"/>
            <a:ext cx="9525000" cy="6134575"/>
          </a:xfrm>
          <a:custGeom>
            <a:avLst/>
            <a:gdLst>
              <a:gd name="connsiteX0" fmla="*/ 0 w 9525000"/>
              <a:gd name="connsiteY0" fmla="*/ 0 h 6134575"/>
              <a:gd name="connsiteX1" fmla="*/ 9525000 w 9525000"/>
              <a:gd name="connsiteY1" fmla="*/ 0 h 6134575"/>
              <a:gd name="connsiteX2" fmla="*/ 9525000 w 9525000"/>
              <a:gd name="connsiteY2" fmla="*/ 6134576 h 6134575"/>
              <a:gd name="connsiteX3" fmla="*/ 0 w 9525000"/>
              <a:gd name="connsiteY3" fmla="*/ 6134576 h 613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25000" h="6134575">
                <a:moveTo>
                  <a:pt x="0" y="0"/>
                </a:moveTo>
                <a:lnTo>
                  <a:pt x="9525000" y="0"/>
                </a:lnTo>
                <a:lnTo>
                  <a:pt x="9525000" y="6134576"/>
                </a:lnTo>
                <a:lnTo>
                  <a:pt x="0" y="6134576"/>
                </a:lnTo>
                <a:close/>
              </a:path>
            </a:pathLst>
          </a:custGeom>
          <a:noFill/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1" name="Forme libre 20">
            <a:extLst>
              <a:ext uri="{FF2B5EF4-FFF2-40B4-BE49-F238E27FC236}">
                <a16:creationId xmlns:a16="http://schemas.microsoft.com/office/drawing/2014/main" id="{D652582A-DBF3-C74B-B65F-34DF9382BF7F}"/>
              </a:ext>
            </a:extLst>
          </p:cNvPr>
          <p:cNvSpPr/>
          <p:nvPr userDrawn="1"/>
        </p:nvSpPr>
        <p:spPr>
          <a:xfrm>
            <a:off x="465024" y="485775"/>
            <a:ext cx="1876550" cy="848138"/>
          </a:xfrm>
          <a:custGeom>
            <a:avLst/>
            <a:gdLst>
              <a:gd name="connsiteX0" fmla="*/ 738002 w 1876550"/>
              <a:gd name="connsiteY0" fmla="*/ 525573 h 848138"/>
              <a:gd name="connsiteX1" fmla="*/ 700955 w 1876550"/>
              <a:gd name="connsiteY1" fmla="*/ 535046 h 848138"/>
              <a:gd name="connsiteX2" fmla="*/ 675053 w 1876550"/>
              <a:gd name="connsiteY2" fmla="*/ 561785 h 848138"/>
              <a:gd name="connsiteX3" fmla="*/ 665580 w 1876550"/>
              <a:gd name="connsiteY3" fmla="*/ 603017 h 848138"/>
              <a:gd name="connsiteX4" fmla="*/ 675053 w 1876550"/>
              <a:gd name="connsiteY4" fmla="*/ 643688 h 848138"/>
              <a:gd name="connsiteX5" fmla="*/ 700955 w 1876550"/>
              <a:gd name="connsiteY5" fmla="*/ 670426 h 848138"/>
              <a:gd name="connsiteX6" fmla="*/ 738002 w 1876550"/>
              <a:gd name="connsiteY6" fmla="*/ 679900 h 848138"/>
              <a:gd name="connsiteX7" fmla="*/ 775603 w 1876550"/>
              <a:gd name="connsiteY7" fmla="*/ 670426 h 848138"/>
              <a:gd name="connsiteX8" fmla="*/ 801512 w 1876550"/>
              <a:gd name="connsiteY8" fmla="*/ 643688 h 848138"/>
              <a:gd name="connsiteX9" fmla="*/ 810977 w 1876550"/>
              <a:gd name="connsiteY9" fmla="*/ 603017 h 848138"/>
              <a:gd name="connsiteX10" fmla="*/ 801512 w 1876550"/>
              <a:gd name="connsiteY10" fmla="*/ 561785 h 848138"/>
              <a:gd name="connsiteX11" fmla="*/ 775603 w 1876550"/>
              <a:gd name="connsiteY11" fmla="*/ 535046 h 848138"/>
              <a:gd name="connsiteX12" fmla="*/ 738002 w 1876550"/>
              <a:gd name="connsiteY12" fmla="*/ 525573 h 848138"/>
              <a:gd name="connsiteX13" fmla="*/ 1371202 w 1876550"/>
              <a:gd name="connsiteY13" fmla="*/ 525569 h 848138"/>
              <a:gd name="connsiteX14" fmla="*/ 1334422 w 1876550"/>
              <a:gd name="connsiteY14" fmla="*/ 535042 h 848138"/>
              <a:gd name="connsiteX15" fmla="*/ 1308798 w 1876550"/>
              <a:gd name="connsiteY15" fmla="*/ 561780 h 848138"/>
              <a:gd name="connsiteX16" fmla="*/ 1299340 w 1876550"/>
              <a:gd name="connsiteY16" fmla="*/ 603013 h 848138"/>
              <a:gd name="connsiteX17" fmla="*/ 1308798 w 1876550"/>
              <a:gd name="connsiteY17" fmla="*/ 643684 h 848138"/>
              <a:gd name="connsiteX18" fmla="*/ 1334422 w 1876550"/>
              <a:gd name="connsiteY18" fmla="*/ 670422 h 848138"/>
              <a:gd name="connsiteX19" fmla="*/ 1371202 w 1876550"/>
              <a:gd name="connsiteY19" fmla="*/ 679895 h 848138"/>
              <a:gd name="connsiteX20" fmla="*/ 1407974 w 1876550"/>
              <a:gd name="connsiteY20" fmla="*/ 670422 h 848138"/>
              <a:gd name="connsiteX21" fmla="*/ 1433607 w 1876550"/>
              <a:gd name="connsiteY21" fmla="*/ 643684 h 848138"/>
              <a:gd name="connsiteX22" fmla="*/ 1443064 w 1876550"/>
              <a:gd name="connsiteY22" fmla="*/ 603013 h 848138"/>
              <a:gd name="connsiteX23" fmla="*/ 1433607 w 1876550"/>
              <a:gd name="connsiteY23" fmla="*/ 561780 h 848138"/>
              <a:gd name="connsiteX24" fmla="*/ 1407974 w 1876550"/>
              <a:gd name="connsiteY24" fmla="*/ 535042 h 848138"/>
              <a:gd name="connsiteX25" fmla="*/ 1371202 w 1876550"/>
              <a:gd name="connsiteY25" fmla="*/ 525569 h 848138"/>
              <a:gd name="connsiteX26" fmla="*/ 918163 w 1876550"/>
              <a:gd name="connsiteY26" fmla="*/ 463734 h 848138"/>
              <a:gd name="connsiteX27" fmla="*/ 994517 w 1876550"/>
              <a:gd name="connsiteY27" fmla="*/ 463734 h 848138"/>
              <a:gd name="connsiteX28" fmla="*/ 994517 w 1876550"/>
              <a:gd name="connsiteY28" fmla="*/ 621407 h 848138"/>
              <a:gd name="connsiteX29" fmla="*/ 1009540 w 1876550"/>
              <a:gd name="connsiteY29" fmla="*/ 665134 h 848138"/>
              <a:gd name="connsiteX30" fmla="*/ 1049658 w 1876550"/>
              <a:gd name="connsiteY30" fmla="*/ 679920 h 848138"/>
              <a:gd name="connsiteX31" fmla="*/ 1090054 w 1876550"/>
              <a:gd name="connsiteY31" fmla="*/ 665134 h 848138"/>
              <a:gd name="connsiteX32" fmla="*/ 1104825 w 1876550"/>
              <a:gd name="connsiteY32" fmla="*/ 621407 h 848138"/>
              <a:gd name="connsiteX33" fmla="*/ 1104825 w 1876550"/>
              <a:gd name="connsiteY33" fmla="*/ 463734 h 848138"/>
              <a:gd name="connsiteX34" fmla="*/ 1181139 w 1876550"/>
              <a:gd name="connsiteY34" fmla="*/ 463734 h 848138"/>
              <a:gd name="connsiteX35" fmla="*/ 1181139 w 1876550"/>
              <a:gd name="connsiteY35" fmla="*/ 629767 h 848138"/>
              <a:gd name="connsiteX36" fmla="*/ 1164426 w 1876550"/>
              <a:gd name="connsiteY36" fmla="*/ 692164 h 848138"/>
              <a:gd name="connsiteX37" fmla="*/ 1118189 w 1876550"/>
              <a:gd name="connsiteY37" fmla="*/ 733395 h 848138"/>
              <a:gd name="connsiteX38" fmla="*/ 1049658 w 1876550"/>
              <a:gd name="connsiteY38" fmla="*/ 747882 h 848138"/>
              <a:gd name="connsiteX39" fmla="*/ 954382 w 1876550"/>
              <a:gd name="connsiteY39" fmla="*/ 716391 h 848138"/>
              <a:gd name="connsiteX40" fmla="*/ 918163 w 1876550"/>
              <a:gd name="connsiteY40" fmla="*/ 629767 h 848138"/>
              <a:gd name="connsiteX41" fmla="*/ 576019 w 1876550"/>
              <a:gd name="connsiteY41" fmla="*/ 463506 h 848138"/>
              <a:gd name="connsiteX42" fmla="*/ 576019 w 1876550"/>
              <a:gd name="connsiteY42" fmla="*/ 537098 h 848138"/>
              <a:gd name="connsiteX43" fmla="*/ 490240 w 1876550"/>
              <a:gd name="connsiteY43" fmla="*/ 578745 h 848138"/>
              <a:gd name="connsiteX44" fmla="*/ 477907 w 1876550"/>
              <a:gd name="connsiteY44" fmla="*/ 624867 h 848138"/>
              <a:gd name="connsiteX45" fmla="*/ 477907 w 1876550"/>
              <a:gd name="connsiteY45" fmla="*/ 742349 h 848138"/>
              <a:gd name="connsiteX46" fmla="*/ 401584 w 1876550"/>
              <a:gd name="connsiteY46" fmla="*/ 742349 h 848138"/>
              <a:gd name="connsiteX47" fmla="*/ 401584 w 1876550"/>
              <a:gd name="connsiteY47" fmla="*/ 463781 h 848138"/>
              <a:gd name="connsiteX48" fmla="*/ 464713 w 1876550"/>
              <a:gd name="connsiteY48" fmla="*/ 463781 h 848138"/>
              <a:gd name="connsiteX49" fmla="*/ 476655 w 1876550"/>
              <a:gd name="connsiteY49" fmla="*/ 503633 h 848138"/>
              <a:gd name="connsiteX50" fmla="*/ 576019 w 1876550"/>
              <a:gd name="connsiteY50" fmla="*/ 463506 h 848138"/>
              <a:gd name="connsiteX51" fmla="*/ 738002 w 1876550"/>
              <a:gd name="connsiteY51" fmla="*/ 458164 h 848138"/>
              <a:gd name="connsiteX52" fmla="*/ 814884 w 1876550"/>
              <a:gd name="connsiteY52" fmla="*/ 476265 h 848138"/>
              <a:gd name="connsiteX53" fmla="*/ 868368 w 1876550"/>
              <a:gd name="connsiteY53" fmla="*/ 526978 h 848138"/>
              <a:gd name="connsiteX54" fmla="*/ 887883 w 1876550"/>
              <a:gd name="connsiteY54" fmla="*/ 603017 h 848138"/>
              <a:gd name="connsiteX55" fmla="*/ 868368 w 1876550"/>
              <a:gd name="connsiteY55" fmla="*/ 679062 h 848138"/>
              <a:gd name="connsiteX56" fmla="*/ 814884 w 1876550"/>
              <a:gd name="connsiteY56" fmla="*/ 729768 h 848138"/>
              <a:gd name="connsiteX57" fmla="*/ 738002 w 1876550"/>
              <a:gd name="connsiteY57" fmla="*/ 747869 h 848138"/>
              <a:gd name="connsiteX58" fmla="*/ 661396 w 1876550"/>
              <a:gd name="connsiteY58" fmla="*/ 729768 h 848138"/>
              <a:gd name="connsiteX59" fmla="*/ 608188 w 1876550"/>
              <a:gd name="connsiteY59" fmla="*/ 679062 h 848138"/>
              <a:gd name="connsiteX60" fmla="*/ 588689 w 1876550"/>
              <a:gd name="connsiteY60" fmla="*/ 603017 h 848138"/>
              <a:gd name="connsiteX61" fmla="*/ 608188 w 1876550"/>
              <a:gd name="connsiteY61" fmla="*/ 526978 h 848138"/>
              <a:gd name="connsiteX62" fmla="*/ 661396 w 1876550"/>
              <a:gd name="connsiteY62" fmla="*/ 476265 h 848138"/>
              <a:gd name="connsiteX63" fmla="*/ 738002 w 1876550"/>
              <a:gd name="connsiteY63" fmla="*/ 458164 h 848138"/>
              <a:gd name="connsiteX64" fmla="*/ 1381788 w 1876550"/>
              <a:gd name="connsiteY64" fmla="*/ 458159 h 848138"/>
              <a:gd name="connsiteX65" fmla="*/ 1450311 w 1876550"/>
              <a:gd name="connsiteY65" fmla="*/ 476261 h 848138"/>
              <a:gd name="connsiteX66" fmla="*/ 1500740 w 1876550"/>
              <a:gd name="connsiteY66" fmla="*/ 526975 h 848138"/>
              <a:gd name="connsiteX67" fmla="*/ 1519963 w 1876550"/>
              <a:gd name="connsiteY67" fmla="*/ 603013 h 848138"/>
              <a:gd name="connsiteX68" fmla="*/ 1500740 w 1876550"/>
              <a:gd name="connsiteY68" fmla="*/ 679059 h 848138"/>
              <a:gd name="connsiteX69" fmla="*/ 1450311 w 1876550"/>
              <a:gd name="connsiteY69" fmla="*/ 729763 h 848138"/>
              <a:gd name="connsiteX70" fmla="*/ 1381788 w 1876550"/>
              <a:gd name="connsiteY70" fmla="*/ 747865 h 848138"/>
              <a:gd name="connsiteX71" fmla="*/ 1319392 w 1876550"/>
              <a:gd name="connsiteY71" fmla="*/ 730316 h 848138"/>
              <a:gd name="connsiteX72" fmla="*/ 1304906 w 1876550"/>
              <a:gd name="connsiteY72" fmla="*/ 719120 h 848138"/>
              <a:gd name="connsiteX73" fmla="*/ 1304906 w 1876550"/>
              <a:gd name="connsiteY73" fmla="*/ 848138 h 848138"/>
              <a:gd name="connsiteX74" fmla="*/ 1228576 w 1876550"/>
              <a:gd name="connsiteY74" fmla="*/ 848138 h 848138"/>
              <a:gd name="connsiteX75" fmla="*/ 1228576 w 1876550"/>
              <a:gd name="connsiteY75" fmla="*/ 463733 h 848138"/>
              <a:gd name="connsiteX76" fmla="*/ 1282628 w 1876550"/>
              <a:gd name="connsiteY76" fmla="*/ 463733 h 848138"/>
              <a:gd name="connsiteX77" fmla="*/ 1296805 w 1876550"/>
              <a:gd name="connsiteY77" fmla="*/ 492104 h 848138"/>
              <a:gd name="connsiteX78" fmla="*/ 1316605 w 1876550"/>
              <a:gd name="connsiteY78" fmla="*/ 476261 h 848138"/>
              <a:gd name="connsiteX79" fmla="*/ 1381788 w 1876550"/>
              <a:gd name="connsiteY79" fmla="*/ 458159 h 848138"/>
              <a:gd name="connsiteX80" fmla="*/ 186101 w 1876550"/>
              <a:gd name="connsiteY80" fmla="*/ 380162 h 848138"/>
              <a:gd name="connsiteX81" fmla="*/ 273277 w 1876550"/>
              <a:gd name="connsiteY81" fmla="*/ 397978 h 848138"/>
              <a:gd name="connsiteX82" fmla="*/ 332895 w 1876550"/>
              <a:gd name="connsiteY82" fmla="*/ 444775 h 848138"/>
              <a:gd name="connsiteX83" fmla="*/ 361022 w 1876550"/>
              <a:gd name="connsiteY83" fmla="*/ 507172 h 848138"/>
              <a:gd name="connsiteX84" fmla="*/ 279696 w 1876550"/>
              <a:gd name="connsiteY84" fmla="*/ 507172 h 848138"/>
              <a:gd name="connsiteX85" fmla="*/ 263821 w 1876550"/>
              <a:gd name="connsiteY85" fmla="*/ 480995 h 848138"/>
              <a:gd name="connsiteX86" fmla="*/ 232606 w 1876550"/>
              <a:gd name="connsiteY86" fmla="*/ 459822 h 848138"/>
              <a:gd name="connsiteX87" fmla="*/ 186653 w 1876550"/>
              <a:gd name="connsiteY87" fmla="*/ 451462 h 848138"/>
              <a:gd name="connsiteX88" fmla="*/ 131220 w 1876550"/>
              <a:gd name="connsiteY88" fmla="*/ 465396 h 848138"/>
              <a:gd name="connsiteX89" fmla="*/ 93327 w 1876550"/>
              <a:gd name="connsiteY89" fmla="*/ 504401 h 848138"/>
              <a:gd name="connsiteX90" fmla="*/ 79686 w 1876550"/>
              <a:gd name="connsiteY90" fmla="*/ 564003 h 848138"/>
              <a:gd name="connsiteX91" fmla="*/ 93603 w 1876550"/>
              <a:gd name="connsiteY91" fmla="*/ 624174 h 848138"/>
              <a:gd name="connsiteX92" fmla="*/ 132324 w 1876550"/>
              <a:gd name="connsiteY92" fmla="*/ 663725 h 848138"/>
              <a:gd name="connsiteX93" fmla="*/ 188871 w 1876550"/>
              <a:gd name="connsiteY93" fmla="*/ 677658 h 848138"/>
              <a:gd name="connsiteX94" fmla="*/ 240413 w 1876550"/>
              <a:gd name="connsiteY94" fmla="*/ 668478 h 848138"/>
              <a:gd name="connsiteX95" fmla="*/ 274943 w 1876550"/>
              <a:gd name="connsiteY95" fmla="*/ 640886 h 848138"/>
              <a:gd name="connsiteX96" fmla="*/ 287276 w 1876550"/>
              <a:gd name="connsiteY96" fmla="*/ 608575 h 848138"/>
              <a:gd name="connsiteX97" fmla="*/ 167146 w 1876550"/>
              <a:gd name="connsiteY97" fmla="*/ 608575 h 848138"/>
              <a:gd name="connsiteX98" fmla="*/ 167146 w 1876550"/>
              <a:gd name="connsiteY98" fmla="*/ 542832 h 848138"/>
              <a:gd name="connsiteX99" fmla="*/ 367717 w 1876550"/>
              <a:gd name="connsiteY99" fmla="*/ 542832 h 848138"/>
              <a:gd name="connsiteX100" fmla="*/ 369106 w 1876550"/>
              <a:gd name="connsiteY100" fmla="*/ 558154 h 848138"/>
              <a:gd name="connsiteX101" fmla="*/ 369366 w 1876550"/>
              <a:gd name="connsiteY101" fmla="*/ 574030 h 848138"/>
              <a:gd name="connsiteX102" fmla="*/ 345422 w 1876550"/>
              <a:gd name="connsiteY102" fmla="*/ 667071 h 848138"/>
              <a:gd name="connsiteX103" fmla="*/ 280533 w 1876550"/>
              <a:gd name="connsiteY103" fmla="*/ 726967 h 848138"/>
              <a:gd name="connsiteX104" fmla="*/ 187766 w 1876550"/>
              <a:gd name="connsiteY104" fmla="*/ 747863 h 848138"/>
              <a:gd name="connsiteX105" fmla="*/ 113395 w 1876550"/>
              <a:gd name="connsiteY105" fmla="*/ 734205 h 848138"/>
              <a:gd name="connsiteX106" fmla="*/ 53760 w 1876550"/>
              <a:gd name="connsiteY106" fmla="*/ 695491 h 848138"/>
              <a:gd name="connsiteX107" fmla="*/ 14218 w 1876550"/>
              <a:gd name="connsiteY107" fmla="*/ 636995 h 848138"/>
              <a:gd name="connsiteX108" fmla="*/ 0 w 1876550"/>
              <a:gd name="connsiteY108" fmla="*/ 564003 h 848138"/>
              <a:gd name="connsiteX109" fmla="*/ 13934 w 1876550"/>
              <a:gd name="connsiteY109" fmla="*/ 491020 h 848138"/>
              <a:gd name="connsiteX110" fmla="*/ 52948 w 1876550"/>
              <a:gd name="connsiteY110" fmla="*/ 432809 h 848138"/>
              <a:gd name="connsiteX111" fmla="*/ 111988 w 1876550"/>
              <a:gd name="connsiteY111" fmla="*/ 394079 h 848138"/>
              <a:gd name="connsiteX112" fmla="*/ 186101 w 1876550"/>
              <a:gd name="connsiteY112" fmla="*/ 380162 h 848138"/>
              <a:gd name="connsiteX113" fmla="*/ 1100933 w 1876550"/>
              <a:gd name="connsiteY113" fmla="*/ 140027 h 848138"/>
              <a:gd name="connsiteX114" fmla="*/ 1064161 w 1876550"/>
              <a:gd name="connsiteY114" fmla="*/ 149501 h 848138"/>
              <a:gd name="connsiteX115" fmla="*/ 1038537 w 1876550"/>
              <a:gd name="connsiteY115" fmla="*/ 176238 h 848138"/>
              <a:gd name="connsiteX116" fmla="*/ 1029064 w 1876550"/>
              <a:gd name="connsiteY116" fmla="*/ 217470 h 848138"/>
              <a:gd name="connsiteX117" fmla="*/ 1038537 w 1876550"/>
              <a:gd name="connsiteY117" fmla="*/ 258134 h 848138"/>
              <a:gd name="connsiteX118" fmla="*/ 1064161 w 1876550"/>
              <a:gd name="connsiteY118" fmla="*/ 284880 h 848138"/>
              <a:gd name="connsiteX119" fmla="*/ 1100933 w 1876550"/>
              <a:gd name="connsiteY119" fmla="*/ 294353 h 848138"/>
              <a:gd name="connsiteX120" fmla="*/ 1137705 w 1876550"/>
              <a:gd name="connsiteY120" fmla="*/ 284880 h 848138"/>
              <a:gd name="connsiteX121" fmla="*/ 1163330 w 1876550"/>
              <a:gd name="connsiteY121" fmla="*/ 258134 h 848138"/>
              <a:gd name="connsiteX122" fmla="*/ 1172803 w 1876550"/>
              <a:gd name="connsiteY122" fmla="*/ 217470 h 848138"/>
              <a:gd name="connsiteX123" fmla="*/ 1163330 w 1876550"/>
              <a:gd name="connsiteY123" fmla="*/ 176238 h 848138"/>
              <a:gd name="connsiteX124" fmla="*/ 1137705 w 1876550"/>
              <a:gd name="connsiteY124" fmla="*/ 149501 h 848138"/>
              <a:gd name="connsiteX125" fmla="*/ 1100933 w 1876550"/>
              <a:gd name="connsiteY125" fmla="*/ 140027 h 848138"/>
              <a:gd name="connsiteX126" fmla="*/ 473731 w 1876550"/>
              <a:gd name="connsiteY126" fmla="*/ 135036 h 848138"/>
              <a:gd name="connsiteX127" fmla="*/ 440022 w 1876550"/>
              <a:gd name="connsiteY127" fmla="*/ 142552 h 848138"/>
              <a:gd name="connsiteX128" fmla="*/ 415495 w 1876550"/>
              <a:gd name="connsiteY128" fmla="*/ 167900 h 848138"/>
              <a:gd name="connsiteX129" fmla="*/ 408963 w 1876550"/>
              <a:gd name="connsiteY129" fmla="*/ 187408 h 848138"/>
              <a:gd name="connsiteX130" fmla="*/ 539621 w 1876550"/>
              <a:gd name="connsiteY130" fmla="*/ 187408 h 848138"/>
              <a:gd name="connsiteX131" fmla="*/ 531099 w 1876550"/>
              <a:gd name="connsiteY131" fmla="*/ 163440 h 848138"/>
              <a:gd name="connsiteX132" fmla="*/ 506578 w 1876550"/>
              <a:gd name="connsiteY132" fmla="*/ 142000 h 848138"/>
              <a:gd name="connsiteX133" fmla="*/ 473731 w 1876550"/>
              <a:gd name="connsiteY133" fmla="*/ 135036 h 848138"/>
              <a:gd name="connsiteX134" fmla="*/ 1288935 w 1876550"/>
              <a:gd name="connsiteY134" fmla="*/ 78176 h 848138"/>
              <a:gd name="connsiteX135" fmla="*/ 1365281 w 1876550"/>
              <a:gd name="connsiteY135" fmla="*/ 78176 h 848138"/>
              <a:gd name="connsiteX136" fmla="*/ 1365281 w 1876550"/>
              <a:gd name="connsiteY136" fmla="*/ 235850 h 848138"/>
              <a:gd name="connsiteX137" fmla="*/ 1380312 w 1876550"/>
              <a:gd name="connsiteY137" fmla="*/ 279576 h 848138"/>
              <a:gd name="connsiteX138" fmla="*/ 1420431 w 1876550"/>
              <a:gd name="connsiteY138" fmla="*/ 294363 h 848138"/>
              <a:gd name="connsiteX139" fmla="*/ 1460827 w 1876550"/>
              <a:gd name="connsiteY139" fmla="*/ 279576 h 848138"/>
              <a:gd name="connsiteX140" fmla="*/ 1475589 w 1876550"/>
              <a:gd name="connsiteY140" fmla="*/ 235850 h 848138"/>
              <a:gd name="connsiteX141" fmla="*/ 1475589 w 1876550"/>
              <a:gd name="connsiteY141" fmla="*/ 78176 h 848138"/>
              <a:gd name="connsiteX142" fmla="*/ 1551902 w 1876550"/>
              <a:gd name="connsiteY142" fmla="*/ 78176 h 848138"/>
              <a:gd name="connsiteX143" fmla="*/ 1551902 w 1876550"/>
              <a:gd name="connsiteY143" fmla="*/ 244210 h 848138"/>
              <a:gd name="connsiteX144" fmla="*/ 1535190 w 1876550"/>
              <a:gd name="connsiteY144" fmla="*/ 306607 h 848138"/>
              <a:gd name="connsiteX145" fmla="*/ 1488953 w 1876550"/>
              <a:gd name="connsiteY145" fmla="*/ 347839 h 848138"/>
              <a:gd name="connsiteX146" fmla="*/ 1420431 w 1876550"/>
              <a:gd name="connsiteY146" fmla="*/ 362325 h 848138"/>
              <a:gd name="connsiteX147" fmla="*/ 1325163 w 1876550"/>
              <a:gd name="connsiteY147" fmla="*/ 330834 h 848138"/>
              <a:gd name="connsiteX148" fmla="*/ 1288935 w 1876550"/>
              <a:gd name="connsiteY148" fmla="*/ 244210 h 848138"/>
              <a:gd name="connsiteX149" fmla="*/ 475942 w 1876550"/>
              <a:gd name="connsiteY149" fmla="*/ 72641 h 848138"/>
              <a:gd name="connsiteX150" fmla="*/ 547811 w 1876550"/>
              <a:gd name="connsiteY150" fmla="*/ 90189 h 848138"/>
              <a:gd name="connsiteX151" fmla="*/ 596842 w 1876550"/>
              <a:gd name="connsiteY151" fmla="*/ 139773 h 848138"/>
              <a:gd name="connsiteX152" fmla="*/ 614668 w 1876550"/>
              <a:gd name="connsiteY152" fmla="*/ 216380 h 848138"/>
              <a:gd name="connsiteX153" fmla="*/ 613555 w 1876550"/>
              <a:gd name="connsiteY153" fmla="*/ 238666 h 848138"/>
              <a:gd name="connsiteX154" fmla="*/ 407865 w 1876550"/>
              <a:gd name="connsiteY154" fmla="*/ 238666 h 848138"/>
              <a:gd name="connsiteX155" fmla="*/ 415780 w 1876550"/>
              <a:gd name="connsiteY155" fmla="*/ 263738 h 848138"/>
              <a:gd name="connsiteX156" fmla="*/ 441965 w 1876550"/>
              <a:gd name="connsiteY156" fmla="*/ 289923 h 848138"/>
              <a:gd name="connsiteX157" fmla="*/ 479288 w 1876550"/>
              <a:gd name="connsiteY157" fmla="*/ 298268 h 848138"/>
              <a:gd name="connsiteX158" fmla="*/ 507432 w 1876550"/>
              <a:gd name="connsiteY158" fmla="*/ 293824 h 848138"/>
              <a:gd name="connsiteX159" fmla="*/ 526378 w 1876550"/>
              <a:gd name="connsiteY159" fmla="*/ 281279 h 848138"/>
              <a:gd name="connsiteX160" fmla="*/ 536681 w 1876550"/>
              <a:gd name="connsiteY160" fmla="*/ 263161 h 848138"/>
              <a:gd name="connsiteX161" fmla="*/ 612442 w 1876550"/>
              <a:gd name="connsiteY161" fmla="*/ 263161 h 848138"/>
              <a:gd name="connsiteX162" fmla="*/ 589588 w 1876550"/>
              <a:gd name="connsiteY162" fmla="*/ 314995 h 848138"/>
              <a:gd name="connsiteX163" fmla="*/ 543090 w 1876550"/>
              <a:gd name="connsiteY163" fmla="*/ 349817 h 848138"/>
              <a:gd name="connsiteX164" fmla="*/ 479288 w 1876550"/>
              <a:gd name="connsiteY164" fmla="*/ 362345 h 848138"/>
              <a:gd name="connsiteX165" fmla="*/ 403795 w 1876550"/>
              <a:gd name="connsiteY165" fmla="*/ 344228 h 848138"/>
              <a:gd name="connsiteX166" fmla="*/ 351701 w 1876550"/>
              <a:gd name="connsiteY166" fmla="*/ 293547 h 848138"/>
              <a:gd name="connsiteX167" fmla="*/ 332770 w 1876550"/>
              <a:gd name="connsiteY167" fmla="*/ 217493 h 848138"/>
              <a:gd name="connsiteX168" fmla="*/ 351148 w 1876550"/>
              <a:gd name="connsiteY168" fmla="*/ 141438 h 848138"/>
              <a:gd name="connsiteX169" fmla="*/ 401846 w 1876550"/>
              <a:gd name="connsiteY169" fmla="*/ 90741 h 848138"/>
              <a:gd name="connsiteX170" fmla="*/ 475942 w 1876550"/>
              <a:gd name="connsiteY170" fmla="*/ 72641 h 848138"/>
              <a:gd name="connsiteX171" fmla="*/ 1089803 w 1876550"/>
              <a:gd name="connsiteY171" fmla="*/ 72618 h 848138"/>
              <a:gd name="connsiteX172" fmla="*/ 1155262 w 1876550"/>
              <a:gd name="connsiteY172" fmla="*/ 90720 h 848138"/>
              <a:gd name="connsiteX173" fmla="*/ 1175176 w 1876550"/>
              <a:gd name="connsiteY173" fmla="*/ 106855 h 848138"/>
              <a:gd name="connsiteX174" fmla="*/ 1189515 w 1876550"/>
              <a:gd name="connsiteY174" fmla="*/ 78182 h 848138"/>
              <a:gd name="connsiteX175" fmla="*/ 1243560 w 1876550"/>
              <a:gd name="connsiteY175" fmla="*/ 78182 h 848138"/>
              <a:gd name="connsiteX176" fmla="*/ 1243560 w 1876550"/>
              <a:gd name="connsiteY176" fmla="*/ 356750 h 848138"/>
              <a:gd name="connsiteX177" fmla="*/ 1189515 w 1876550"/>
              <a:gd name="connsiteY177" fmla="*/ 356750 h 848138"/>
              <a:gd name="connsiteX178" fmla="*/ 1175176 w 1876550"/>
              <a:gd name="connsiteY178" fmla="*/ 328062 h 848138"/>
              <a:gd name="connsiteX179" fmla="*/ 1155262 w 1876550"/>
              <a:gd name="connsiteY179" fmla="*/ 344205 h 848138"/>
              <a:gd name="connsiteX180" fmla="*/ 1089803 w 1876550"/>
              <a:gd name="connsiteY180" fmla="*/ 362315 h 848138"/>
              <a:gd name="connsiteX181" fmla="*/ 1021824 w 1876550"/>
              <a:gd name="connsiteY181" fmla="*/ 344205 h 848138"/>
              <a:gd name="connsiteX182" fmla="*/ 971420 w 1876550"/>
              <a:gd name="connsiteY182" fmla="*/ 293516 h 848138"/>
              <a:gd name="connsiteX183" fmla="*/ 952197 w 1876550"/>
              <a:gd name="connsiteY183" fmla="*/ 217470 h 848138"/>
              <a:gd name="connsiteX184" fmla="*/ 971420 w 1876550"/>
              <a:gd name="connsiteY184" fmla="*/ 141417 h 848138"/>
              <a:gd name="connsiteX185" fmla="*/ 1021824 w 1876550"/>
              <a:gd name="connsiteY185" fmla="*/ 90720 h 848138"/>
              <a:gd name="connsiteX186" fmla="*/ 1089803 w 1876550"/>
              <a:gd name="connsiteY186" fmla="*/ 72618 h 848138"/>
              <a:gd name="connsiteX187" fmla="*/ 802554 w 1876550"/>
              <a:gd name="connsiteY187" fmla="*/ 72613 h 848138"/>
              <a:gd name="connsiteX188" fmla="*/ 863008 w 1876550"/>
              <a:gd name="connsiteY188" fmla="*/ 86546 h 848138"/>
              <a:gd name="connsiteX189" fmla="*/ 905069 w 1876550"/>
              <a:gd name="connsiteY189" fmla="*/ 126657 h 848138"/>
              <a:gd name="connsiteX190" fmla="*/ 920667 w 1876550"/>
              <a:gd name="connsiteY190" fmla="*/ 189062 h 848138"/>
              <a:gd name="connsiteX191" fmla="*/ 920667 w 1876550"/>
              <a:gd name="connsiteY191" fmla="*/ 356745 h 848138"/>
              <a:gd name="connsiteX192" fmla="*/ 844338 w 1876550"/>
              <a:gd name="connsiteY192" fmla="*/ 356745 h 848138"/>
              <a:gd name="connsiteX193" fmla="*/ 844338 w 1876550"/>
              <a:gd name="connsiteY193" fmla="*/ 200753 h 848138"/>
              <a:gd name="connsiteX194" fmla="*/ 837099 w 1876550"/>
              <a:gd name="connsiteY194" fmla="*/ 168166 h 848138"/>
              <a:gd name="connsiteX195" fmla="*/ 816771 w 1876550"/>
              <a:gd name="connsiteY195" fmla="*/ 147270 h 848138"/>
              <a:gd name="connsiteX196" fmla="*/ 786393 w 1876550"/>
              <a:gd name="connsiteY196" fmla="*/ 140023 h 848138"/>
              <a:gd name="connsiteX197" fmla="*/ 743764 w 1876550"/>
              <a:gd name="connsiteY197" fmla="*/ 155898 h 848138"/>
              <a:gd name="connsiteX198" fmla="*/ 727904 w 1876550"/>
              <a:gd name="connsiteY198" fmla="*/ 200753 h 848138"/>
              <a:gd name="connsiteX199" fmla="*/ 727904 w 1876550"/>
              <a:gd name="connsiteY199" fmla="*/ 356745 h 848138"/>
              <a:gd name="connsiteX200" fmla="*/ 651575 w 1876550"/>
              <a:gd name="connsiteY200" fmla="*/ 356745 h 848138"/>
              <a:gd name="connsiteX201" fmla="*/ 651575 w 1876550"/>
              <a:gd name="connsiteY201" fmla="*/ 78186 h 848138"/>
              <a:gd name="connsiteX202" fmla="*/ 705627 w 1876550"/>
              <a:gd name="connsiteY202" fmla="*/ 78186 h 848138"/>
              <a:gd name="connsiteX203" fmla="*/ 719935 w 1876550"/>
              <a:gd name="connsiteY203" fmla="*/ 106817 h 848138"/>
              <a:gd name="connsiteX204" fmla="*/ 747404 w 1876550"/>
              <a:gd name="connsiteY204" fmla="*/ 85433 h 848138"/>
              <a:gd name="connsiteX205" fmla="*/ 802554 w 1876550"/>
              <a:gd name="connsiteY205" fmla="*/ 72613 h 848138"/>
              <a:gd name="connsiteX206" fmla="*/ 99221 w 1876550"/>
              <a:gd name="connsiteY206" fmla="*/ 69274 h 848138"/>
              <a:gd name="connsiteX207" fmla="*/ 99221 w 1876550"/>
              <a:gd name="connsiteY207" fmla="*/ 173455 h 848138"/>
              <a:gd name="connsiteX208" fmla="*/ 174975 w 1876550"/>
              <a:gd name="connsiteY208" fmla="*/ 173455 h 848138"/>
              <a:gd name="connsiteX209" fmla="*/ 216476 w 1876550"/>
              <a:gd name="connsiteY209" fmla="*/ 159538 h 848138"/>
              <a:gd name="connsiteX210" fmla="*/ 231245 w 1876550"/>
              <a:gd name="connsiteY210" fmla="*/ 121645 h 848138"/>
              <a:gd name="connsiteX211" fmla="*/ 216476 w 1876550"/>
              <a:gd name="connsiteY211" fmla="*/ 82932 h 848138"/>
              <a:gd name="connsiteX212" fmla="*/ 174975 w 1876550"/>
              <a:gd name="connsiteY212" fmla="*/ 69274 h 848138"/>
              <a:gd name="connsiteX213" fmla="*/ 21202 w 1876550"/>
              <a:gd name="connsiteY213" fmla="*/ 183 h 848138"/>
              <a:gd name="connsiteX214" fmla="*/ 172741 w 1876550"/>
              <a:gd name="connsiteY214" fmla="*/ 183 h 848138"/>
              <a:gd name="connsiteX215" fmla="*/ 273867 w 1876550"/>
              <a:gd name="connsiteY215" fmla="*/ 31949 h 848138"/>
              <a:gd name="connsiteX216" fmla="*/ 310354 w 1876550"/>
              <a:gd name="connsiteY216" fmla="*/ 120532 h 848138"/>
              <a:gd name="connsiteX217" fmla="*/ 273867 w 1876550"/>
              <a:gd name="connsiteY217" fmla="*/ 208277 h 848138"/>
              <a:gd name="connsiteX218" fmla="*/ 245878 w 1876550"/>
              <a:gd name="connsiteY218" fmla="*/ 226289 h 848138"/>
              <a:gd name="connsiteX219" fmla="*/ 321509 w 1876550"/>
              <a:gd name="connsiteY219" fmla="*/ 356753 h 848138"/>
              <a:gd name="connsiteX220" fmla="*/ 231815 w 1876550"/>
              <a:gd name="connsiteY220" fmla="*/ 356753 h 848138"/>
              <a:gd name="connsiteX221" fmla="*/ 170206 w 1876550"/>
              <a:gd name="connsiteY221" fmla="*/ 240312 h 848138"/>
              <a:gd name="connsiteX222" fmla="*/ 99221 w 1876550"/>
              <a:gd name="connsiteY222" fmla="*/ 240312 h 848138"/>
              <a:gd name="connsiteX223" fmla="*/ 99221 w 1876550"/>
              <a:gd name="connsiteY223" fmla="*/ 356753 h 848138"/>
              <a:gd name="connsiteX224" fmla="*/ 21202 w 1876550"/>
              <a:gd name="connsiteY224" fmla="*/ 356753 h 848138"/>
              <a:gd name="connsiteX225" fmla="*/ 1714417 w 1876550"/>
              <a:gd name="connsiteY225" fmla="*/ 148 h 848138"/>
              <a:gd name="connsiteX226" fmla="*/ 1790771 w 1876550"/>
              <a:gd name="connsiteY226" fmla="*/ 148 h 848138"/>
              <a:gd name="connsiteX227" fmla="*/ 1790771 w 1876550"/>
              <a:gd name="connsiteY227" fmla="*/ 78161 h 848138"/>
              <a:gd name="connsiteX228" fmla="*/ 1876323 w 1876550"/>
              <a:gd name="connsiteY228" fmla="*/ 78161 h 848138"/>
              <a:gd name="connsiteX229" fmla="*/ 1876323 w 1876550"/>
              <a:gd name="connsiteY229" fmla="*/ 141671 h 848138"/>
              <a:gd name="connsiteX230" fmla="*/ 1790771 w 1876550"/>
              <a:gd name="connsiteY230" fmla="*/ 141671 h 848138"/>
              <a:gd name="connsiteX231" fmla="*/ 1790771 w 1876550"/>
              <a:gd name="connsiteY231" fmla="*/ 246972 h 848138"/>
              <a:gd name="connsiteX232" fmla="*/ 1800229 w 1876550"/>
              <a:gd name="connsiteY232" fmla="*/ 277050 h 848138"/>
              <a:gd name="connsiteX233" fmla="*/ 1830314 w 1876550"/>
              <a:gd name="connsiteY233" fmla="*/ 286523 h 848138"/>
              <a:gd name="connsiteX234" fmla="*/ 1876550 w 1876550"/>
              <a:gd name="connsiteY234" fmla="*/ 286523 h 848138"/>
              <a:gd name="connsiteX235" fmla="*/ 1876550 w 1876550"/>
              <a:gd name="connsiteY235" fmla="*/ 356727 h 848138"/>
              <a:gd name="connsiteX236" fmla="*/ 1828079 w 1876550"/>
              <a:gd name="connsiteY236" fmla="*/ 356727 h 848138"/>
              <a:gd name="connsiteX237" fmla="*/ 1762904 w 1876550"/>
              <a:gd name="connsiteY237" fmla="*/ 345864 h 848138"/>
              <a:gd name="connsiteX238" fmla="*/ 1726124 w 1876550"/>
              <a:gd name="connsiteY238" fmla="*/ 311872 h 848138"/>
              <a:gd name="connsiteX239" fmla="*/ 1714417 w 1876550"/>
              <a:gd name="connsiteY239" fmla="*/ 253082 h 848138"/>
              <a:gd name="connsiteX240" fmla="*/ 1595217 w 1876550"/>
              <a:gd name="connsiteY240" fmla="*/ 0 h 848138"/>
              <a:gd name="connsiteX241" fmla="*/ 1671555 w 1876550"/>
              <a:gd name="connsiteY241" fmla="*/ 0 h 848138"/>
              <a:gd name="connsiteX242" fmla="*/ 1671555 w 1876550"/>
              <a:gd name="connsiteY242" fmla="*/ 356555 h 848138"/>
              <a:gd name="connsiteX243" fmla="*/ 1595217 w 1876550"/>
              <a:gd name="connsiteY243" fmla="*/ 356555 h 848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</a:cxnLst>
            <a:rect l="l" t="t" r="r" b="b"/>
            <a:pathLst>
              <a:path w="1876550" h="848138">
                <a:moveTo>
                  <a:pt x="738002" y="525573"/>
                </a:moveTo>
                <a:cubicBezTo>
                  <a:pt x="724247" y="525573"/>
                  <a:pt x="711898" y="528742"/>
                  <a:pt x="700955" y="535046"/>
                </a:cubicBezTo>
                <a:cubicBezTo>
                  <a:pt x="689978" y="541375"/>
                  <a:pt x="681358" y="550273"/>
                  <a:pt x="675053" y="561785"/>
                </a:cubicBezTo>
                <a:cubicBezTo>
                  <a:pt x="668733" y="573297"/>
                  <a:pt x="665580" y="587043"/>
                  <a:pt x="665580" y="603017"/>
                </a:cubicBezTo>
                <a:cubicBezTo>
                  <a:pt x="665580" y="618616"/>
                  <a:pt x="668733" y="632175"/>
                  <a:pt x="675053" y="643688"/>
                </a:cubicBezTo>
                <a:cubicBezTo>
                  <a:pt x="681358" y="655209"/>
                  <a:pt x="689978" y="664113"/>
                  <a:pt x="700955" y="670426"/>
                </a:cubicBezTo>
                <a:cubicBezTo>
                  <a:pt x="711898" y="676747"/>
                  <a:pt x="724247" y="679900"/>
                  <a:pt x="738002" y="679900"/>
                </a:cubicBezTo>
                <a:cubicBezTo>
                  <a:pt x="752115" y="679900"/>
                  <a:pt x="764651" y="676747"/>
                  <a:pt x="775603" y="670426"/>
                </a:cubicBezTo>
                <a:cubicBezTo>
                  <a:pt x="786555" y="664113"/>
                  <a:pt x="795199" y="655209"/>
                  <a:pt x="801512" y="643688"/>
                </a:cubicBezTo>
                <a:cubicBezTo>
                  <a:pt x="807816" y="632175"/>
                  <a:pt x="810977" y="618616"/>
                  <a:pt x="810977" y="603017"/>
                </a:cubicBezTo>
                <a:cubicBezTo>
                  <a:pt x="810977" y="587043"/>
                  <a:pt x="807816" y="573297"/>
                  <a:pt x="801512" y="561785"/>
                </a:cubicBezTo>
                <a:cubicBezTo>
                  <a:pt x="795199" y="550273"/>
                  <a:pt x="786555" y="541375"/>
                  <a:pt x="775603" y="535046"/>
                </a:cubicBezTo>
                <a:cubicBezTo>
                  <a:pt x="764651" y="528742"/>
                  <a:pt x="752115" y="525573"/>
                  <a:pt x="738002" y="525573"/>
                </a:cubicBezTo>
                <a:close/>
                <a:moveTo>
                  <a:pt x="1371202" y="525569"/>
                </a:moveTo>
                <a:cubicBezTo>
                  <a:pt x="1357447" y="525569"/>
                  <a:pt x="1345203" y="528737"/>
                  <a:pt x="1334422" y="535042"/>
                </a:cubicBezTo>
                <a:cubicBezTo>
                  <a:pt x="1323658" y="541371"/>
                  <a:pt x="1315103" y="550267"/>
                  <a:pt x="1308798" y="561780"/>
                </a:cubicBezTo>
                <a:cubicBezTo>
                  <a:pt x="1302485" y="573292"/>
                  <a:pt x="1299340" y="587040"/>
                  <a:pt x="1299340" y="603013"/>
                </a:cubicBezTo>
                <a:cubicBezTo>
                  <a:pt x="1299340" y="618612"/>
                  <a:pt x="1302485" y="632172"/>
                  <a:pt x="1308798" y="643684"/>
                </a:cubicBezTo>
                <a:cubicBezTo>
                  <a:pt x="1315103" y="655204"/>
                  <a:pt x="1323658" y="664109"/>
                  <a:pt x="1334422" y="670422"/>
                </a:cubicBezTo>
                <a:cubicBezTo>
                  <a:pt x="1345203" y="676743"/>
                  <a:pt x="1357447" y="679895"/>
                  <a:pt x="1371202" y="679895"/>
                </a:cubicBezTo>
                <a:cubicBezTo>
                  <a:pt x="1384940" y="679895"/>
                  <a:pt x="1397208" y="676743"/>
                  <a:pt x="1407974" y="670422"/>
                </a:cubicBezTo>
                <a:cubicBezTo>
                  <a:pt x="1418748" y="664109"/>
                  <a:pt x="1427277" y="655204"/>
                  <a:pt x="1433607" y="643684"/>
                </a:cubicBezTo>
                <a:cubicBezTo>
                  <a:pt x="1439912" y="632172"/>
                  <a:pt x="1443064" y="618612"/>
                  <a:pt x="1443064" y="603013"/>
                </a:cubicBezTo>
                <a:cubicBezTo>
                  <a:pt x="1443064" y="587040"/>
                  <a:pt x="1439912" y="573292"/>
                  <a:pt x="1433607" y="561780"/>
                </a:cubicBezTo>
                <a:cubicBezTo>
                  <a:pt x="1427277" y="550267"/>
                  <a:pt x="1418748" y="541371"/>
                  <a:pt x="1407974" y="535042"/>
                </a:cubicBezTo>
                <a:cubicBezTo>
                  <a:pt x="1397208" y="528737"/>
                  <a:pt x="1384940" y="525569"/>
                  <a:pt x="1371202" y="525569"/>
                </a:cubicBezTo>
                <a:close/>
                <a:moveTo>
                  <a:pt x="918163" y="463734"/>
                </a:moveTo>
                <a:lnTo>
                  <a:pt x="994517" y="463734"/>
                </a:lnTo>
                <a:lnTo>
                  <a:pt x="994517" y="621407"/>
                </a:lnTo>
                <a:cubicBezTo>
                  <a:pt x="994517" y="640727"/>
                  <a:pt x="999514" y="655302"/>
                  <a:pt x="1009540" y="665134"/>
                </a:cubicBezTo>
                <a:cubicBezTo>
                  <a:pt x="1019573" y="674997"/>
                  <a:pt x="1032946" y="679920"/>
                  <a:pt x="1049658" y="679920"/>
                </a:cubicBezTo>
                <a:cubicBezTo>
                  <a:pt x="1066744" y="679920"/>
                  <a:pt x="1080198" y="674997"/>
                  <a:pt x="1090054" y="665134"/>
                </a:cubicBezTo>
                <a:cubicBezTo>
                  <a:pt x="1099901" y="655302"/>
                  <a:pt x="1104825" y="640727"/>
                  <a:pt x="1104825" y="621407"/>
                </a:cubicBezTo>
                <a:lnTo>
                  <a:pt x="1104825" y="463734"/>
                </a:lnTo>
                <a:lnTo>
                  <a:pt x="1181139" y="463734"/>
                </a:lnTo>
                <a:lnTo>
                  <a:pt x="1181139" y="629767"/>
                </a:lnTo>
                <a:cubicBezTo>
                  <a:pt x="1181139" y="653547"/>
                  <a:pt x="1175565" y="674331"/>
                  <a:pt x="1164426" y="692164"/>
                </a:cubicBezTo>
                <a:cubicBezTo>
                  <a:pt x="1153287" y="709989"/>
                  <a:pt x="1137866" y="723736"/>
                  <a:pt x="1118189" y="733395"/>
                </a:cubicBezTo>
                <a:cubicBezTo>
                  <a:pt x="1098496" y="743039"/>
                  <a:pt x="1075640" y="747882"/>
                  <a:pt x="1049658" y="747882"/>
                </a:cubicBezTo>
                <a:cubicBezTo>
                  <a:pt x="1010279" y="747882"/>
                  <a:pt x="978512" y="737393"/>
                  <a:pt x="954382" y="716391"/>
                </a:cubicBezTo>
                <a:cubicBezTo>
                  <a:pt x="930252" y="695422"/>
                  <a:pt x="918163" y="666539"/>
                  <a:pt x="918163" y="629767"/>
                </a:cubicBezTo>
                <a:close/>
                <a:moveTo>
                  <a:pt x="576019" y="463506"/>
                </a:moveTo>
                <a:lnTo>
                  <a:pt x="576019" y="537098"/>
                </a:lnTo>
                <a:cubicBezTo>
                  <a:pt x="527052" y="537098"/>
                  <a:pt x="502516" y="558530"/>
                  <a:pt x="490240" y="578745"/>
                </a:cubicBezTo>
                <a:cubicBezTo>
                  <a:pt x="481823" y="592572"/>
                  <a:pt x="477907" y="608674"/>
                  <a:pt x="477907" y="624867"/>
                </a:cubicBezTo>
                <a:lnTo>
                  <a:pt x="477907" y="742349"/>
                </a:lnTo>
                <a:lnTo>
                  <a:pt x="401584" y="742349"/>
                </a:lnTo>
                <a:lnTo>
                  <a:pt x="401584" y="463781"/>
                </a:lnTo>
                <a:lnTo>
                  <a:pt x="464713" y="463781"/>
                </a:lnTo>
                <a:lnTo>
                  <a:pt x="476655" y="503633"/>
                </a:lnTo>
                <a:cubicBezTo>
                  <a:pt x="502589" y="481103"/>
                  <a:pt x="535705" y="463506"/>
                  <a:pt x="576019" y="463506"/>
                </a:cubicBezTo>
                <a:close/>
                <a:moveTo>
                  <a:pt x="738002" y="458164"/>
                </a:moveTo>
                <a:cubicBezTo>
                  <a:pt x="766592" y="458164"/>
                  <a:pt x="792217" y="464209"/>
                  <a:pt x="814884" y="476265"/>
                </a:cubicBezTo>
                <a:cubicBezTo>
                  <a:pt x="837536" y="488339"/>
                  <a:pt x="855352" y="505237"/>
                  <a:pt x="868368" y="526978"/>
                </a:cubicBezTo>
                <a:cubicBezTo>
                  <a:pt x="881368" y="548704"/>
                  <a:pt x="887883" y="574036"/>
                  <a:pt x="887883" y="603017"/>
                </a:cubicBezTo>
                <a:cubicBezTo>
                  <a:pt x="887883" y="631989"/>
                  <a:pt x="881368" y="657346"/>
                  <a:pt x="868368" y="679062"/>
                </a:cubicBezTo>
                <a:cubicBezTo>
                  <a:pt x="855352" y="700788"/>
                  <a:pt x="837536" y="717703"/>
                  <a:pt x="814884" y="729768"/>
                </a:cubicBezTo>
                <a:cubicBezTo>
                  <a:pt x="792217" y="741833"/>
                  <a:pt x="766592" y="747869"/>
                  <a:pt x="738002" y="747869"/>
                </a:cubicBezTo>
                <a:cubicBezTo>
                  <a:pt x="709387" y="747869"/>
                  <a:pt x="683861" y="741833"/>
                  <a:pt x="661396" y="729768"/>
                </a:cubicBezTo>
                <a:cubicBezTo>
                  <a:pt x="638923" y="717703"/>
                  <a:pt x="621187" y="700788"/>
                  <a:pt x="608188" y="679062"/>
                </a:cubicBezTo>
                <a:cubicBezTo>
                  <a:pt x="595181" y="657346"/>
                  <a:pt x="588689" y="631989"/>
                  <a:pt x="588689" y="603017"/>
                </a:cubicBezTo>
                <a:cubicBezTo>
                  <a:pt x="588689" y="574036"/>
                  <a:pt x="595181" y="548704"/>
                  <a:pt x="608188" y="526978"/>
                </a:cubicBezTo>
                <a:cubicBezTo>
                  <a:pt x="621187" y="505237"/>
                  <a:pt x="638923" y="488339"/>
                  <a:pt x="661396" y="476265"/>
                </a:cubicBezTo>
                <a:cubicBezTo>
                  <a:pt x="683861" y="464209"/>
                  <a:pt x="709387" y="458164"/>
                  <a:pt x="738002" y="458164"/>
                </a:cubicBezTo>
                <a:close/>
                <a:moveTo>
                  <a:pt x="1381788" y="458159"/>
                </a:moveTo>
                <a:cubicBezTo>
                  <a:pt x="1406666" y="458159"/>
                  <a:pt x="1429495" y="464204"/>
                  <a:pt x="1450311" y="476261"/>
                </a:cubicBezTo>
                <a:cubicBezTo>
                  <a:pt x="1471110" y="488334"/>
                  <a:pt x="1487936" y="505234"/>
                  <a:pt x="1500740" y="526975"/>
                </a:cubicBezTo>
                <a:cubicBezTo>
                  <a:pt x="1513561" y="548700"/>
                  <a:pt x="1519963" y="574033"/>
                  <a:pt x="1519963" y="603013"/>
                </a:cubicBezTo>
                <a:cubicBezTo>
                  <a:pt x="1519963" y="631984"/>
                  <a:pt x="1513561" y="657341"/>
                  <a:pt x="1500740" y="679059"/>
                </a:cubicBezTo>
                <a:cubicBezTo>
                  <a:pt x="1487936" y="700783"/>
                  <a:pt x="1471110" y="717699"/>
                  <a:pt x="1450311" y="729763"/>
                </a:cubicBezTo>
                <a:cubicBezTo>
                  <a:pt x="1429495" y="741828"/>
                  <a:pt x="1406666" y="747865"/>
                  <a:pt x="1381788" y="747865"/>
                </a:cubicBezTo>
                <a:cubicBezTo>
                  <a:pt x="1358381" y="747865"/>
                  <a:pt x="1337575" y="742016"/>
                  <a:pt x="1319392" y="730316"/>
                </a:cubicBezTo>
                <a:cubicBezTo>
                  <a:pt x="1314217" y="726984"/>
                  <a:pt x="1309382" y="723247"/>
                  <a:pt x="1304906" y="719120"/>
                </a:cubicBezTo>
                <a:lnTo>
                  <a:pt x="1304906" y="848138"/>
                </a:lnTo>
                <a:lnTo>
                  <a:pt x="1228576" y="848138"/>
                </a:lnTo>
                <a:lnTo>
                  <a:pt x="1228576" y="463733"/>
                </a:lnTo>
                <a:lnTo>
                  <a:pt x="1282628" y="463733"/>
                </a:lnTo>
                <a:lnTo>
                  <a:pt x="1296805" y="492104"/>
                </a:lnTo>
                <a:cubicBezTo>
                  <a:pt x="1302801" y="486132"/>
                  <a:pt x="1309415" y="480852"/>
                  <a:pt x="1316605" y="476261"/>
                </a:cubicBezTo>
                <a:cubicBezTo>
                  <a:pt x="1335552" y="464204"/>
                  <a:pt x="1357268" y="458159"/>
                  <a:pt x="1381788" y="458159"/>
                </a:cubicBezTo>
                <a:close/>
                <a:moveTo>
                  <a:pt x="186101" y="380162"/>
                </a:moveTo>
                <a:cubicBezTo>
                  <a:pt x="219517" y="380162"/>
                  <a:pt x="248570" y="386100"/>
                  <a:pt x="273277" y="397978"/>
                </a:cubicBezTo>
                <a:cubicBezTo>
                  <a:pt x="297960" y="409881"/>
                  <a:pt x="317849" y="425480"/>
                  <a:pt x="332895" y="444775"/>
                </a:cubicBezTo>
                <a:cubicBezTo>
                  <a:pt x="347933" y="464096"/>
                  <a:pt x="357309" y="484895"/>
                  <a:pt x="361022" y="507172"/>
                </a:cubicBezTo>
                <a:lnTo>
                  <a:pt x="279696" y="507172"/>
                </a:lnTo>
                <a:cubicBezTo>
                  <a:pt x="277088" y="498260"/>
                  <a:pt x="271790" y="489543"/>
                  <a:pt x="263821" y="480995"/>
                </a:cubicBezTo>
                <a:cubicBezTo>
                  <a:pt x="255809" y="472440"/>
                  <a:pt x="245410" y="465396"/>
                  <a:pt x="232606" y="459822"/>
                </a:cubicBezTo>
                <a:cubicBezTo>
                  <a:pt x="219802" y="454257"/>
                  <a:pt x="204471" y="451462"/>
                  <a:pt x="186653" y="451462"/>
                </a:cubicBezTo>
                <a:cubicBezTo>
                  <a:pt x="165839" y="451462"/>
                  <a:pt x="147372" y="456102"/>
                  <a:pt x="131220" y="465396"/>
                </a:cubicBezTo>
                <a:cubicBezTo>
                  <a:pt x="115044" y="474682"/>
                  <a:pt x="102426" y="487674"/>
                  <a:pt x="93327" y="504401"/>
                </a:cubicBezTo>
                <a:cubicBezTo>
                  <a:pt x="84219" y="521106"/>
                  <a:pt x="79686" y="540978"/>
                  <a:pt x="79686" y="564003"/>
                </a:cubicBezTo>
                <a:cubicBezTo>
                  <a:pt x="79686" y="587037"/>
                  <a:pt x="84309" y="607097"/>
                  <a:pt x="93603" y="624174"/>
                </a:cubicBezTo>
                <a:cubicBezTo>
                  <a:pt x="102889" y="641260"/>
                  <a:pt x="115799" y="654446"/>
                  <a:pt x="132324" y="663725"/>
                </a:cubicBezTo>
                <a:cubicBezTo>
                  <a:pt x="148842" y="673027"/>
                  <a:pt x="167707" y="677658"/>
                  <a:pt x="188871" y="677658"/>
                </a:cubicBezTo>
                <a:cubicBezTo>
                  <a:pt x="208565" y="677658"/>
                  <a:pt x="225733" y="674603"/>
                  <a:pt x="240413" y="668478"/>
                </a:cubicBezTo>
                <a:cubicBezTo>
                  <a:pt x="255070" y="662335"/>
                  <a:pt x="266599" y="653138"/>
                  <a:pt x="274943" y="640886"/>
                </a:cubicBezTo>
                <a:cubicBezTo>
                  <a:pt x="281183" y="631771"/>
                  <a:pt x="285269" y="620981"/>
                  <a:pt x="287276" y="608575"/>
                </a:cubicBezTo>
                <a:lnTo>
                  <a:pt x="167146" y="608575"/>
                </a:lnTo>
                <a:lnTo>
                  <a:pt x="167146" y="542832"/>
                </a:lnTo>
                <a:lnTo>
                  <a:pt x="367717" y="542832"/>
                </a:lnTo>
                <a:cubicBezTo>
                  <a:pt x="368464" y="547665"/>
                  <a:pt x="368903" y="552784"/>
                  <a:pt x="369106" y="558154"/>
                </a:cubicBezTo>
                <a:cubicBezTo>
                  <a:pt x="369293" y="563541"/>
                  <a:pt x="369366" y="568846"/>
                  <a:pt x="369366" y="574030"/>
                </a:cubicBezTo>
                <a:cubicBezTo>
                  <a:pt x="369366" y="610062"/>
                  <a:pt x="361396" y="641089"/>
                  <a:pt x="345422" y="667071"/>
                </a:cubicBezTo>
                <a:cubicBezTo>
                  <a:pt x="329451" y="693070"/>
                  <a:pt x="307823" y="713033"/>
                  <a:pt x="280533" y="726967"/>
                </a:cubicBezTo>
                <a:cubicBezTo>
                  <a:pt x="253217" y="740884"/>
                  <a:pt x="222303" y="747863"/>
                  <a:pt x="187766" y="747863"/>
                </a:cubicBezTo>
                <a:cubicBezTo>
                  <a:pt x="161028" y="747863"/>
                  <a:pt x="136232" y="743305"/>
                  <a:pt x="113395" y="734205"/>
                </a:cubicBezTo>
                <a:cubicBezTo>
                  <a:pt x="90549" y="725106"/>
                  <a:pt x="70667" y="712203"/>
                  <a:pt x="53760" y="695491"/>
                </a:cubicBezTo>
                <a:cubicBezTo>
                  <a:pt x="36862" y="678779"/>
                  <a:pt x="23684" y="659264"/>
                  <a:pt x="14218" y="636995"/>
                </a:cubicBezTo>
                <a:cubicBezTo>
                  <a:pt x="4737" y="614701"/>
                  <a:pt x="0" y="590392"/>
                  <a:pt x="0" y="564003"/>
                </a:cubicBezTo>
                <a:cubicBezTo>
                  <a:pt x="0" y="537632"/>
                  <a:pt x="4647" y="513299"/>
                  <a:pt x="13934" y="491020"/>
                </a:cubicBezTo>
                <a:cubicBezTo>
                  <a:pt x="23213" y="468744"/>
                  <a:pt x="36236" y="449333"/>
                  <a:pt x="52948" y="432809"/>
                </a:cubicBezTo>
                <a:cubicBezTo>
                  <a:pt x="69652" y="416283"/>
                  <a:pt x="89321" y="403365"/>
                  <a:pt x="111988" y="394079"/>
                </a:cubicBezTo>
                <a:cubicBezTo>
                  <a:pt x="134648" y="384800"/>
                  <a:pt x="159346" y="380162"/>
                  <a:pt x="186101" y="380162"/>
                </a:cubicBezTo>
                <a:close/>
                <a:moveTo>
                  <a:pt x="1100933" y="140027"/>
                </a:moveTo>
                <a:cubicBezTo>
                  <a:pt x="1087203" y="140027"/>
                  <a:pt x="1074935" y="143172"/>
                  <a:pt x="1064161" y="149501"/>
                </a:cubicBezTo>
                <a:cubicBezTo>
                  <a:pt x="1053397" y="155813"/>
                  <a:pt x="1044842" y="164726"/>
                  <a:pt x="1038537" y="176238"/>
                </a:cubicBezTo>
                <a:cubicBezTo>
                  <a:pt x="1032233" y="187751"/>
                  <a:pt x="1029064" y="201498"/>
                  <a:pt x="1029064" y="217470"/>
                </a:cubicBezTo>
                <a:cubicBezTo>
                  <a:pt x="1029064" y="233069"/>
                  <a:pt x="1032233" y="246629"/>
                  <a:pt x="1038537" y="258134"/>
                </a:cubicBezTo>
                <a:cubicBezTo>
                  <a:pt x="1044842" y="269646"/>
                  <a:pt x="1053397" y="278568"/>
                  <a:pt x="1064161" y="284880"/>
                </a:cubicBezTo>
                <a:cubicBezTo>
                  <a:pt x="1074935" y="291201"/>
                  <a:pt x="1087203" y="294353"/>
                  <a:pt x="1100933" y="294353"/>
                </a:cubicBezTo>
                <a:cubicBezTo>
                  <a:pt x="1114681" y="294353"/>
                  <a:pt x="1126932" y="291201"/>
                  <a:pt x="1137705" y="284880"/>
                </a:cubicBezTo>
                <a:cubicBezTo>
                  <a:pt x="1148470" y="278568"/>
                  <a:pt x="1157017" y="269646"/>
                  <a:pt x="1163330" y="258134"/>
                </a:cubicBezTo>
                <a:cubicBezTo>
                  <a:pt x="1169643" y="246629"/>
                  <a:pt x="1172803" y="233069"/>
                  <a:pt x="1172803" y="217470"/>
                </a:cubicBezTo>
                <a:cubicBezTo>
                  <a:pt x="1172803" y="201498"/>
                  <a:pt x="1169643" y="187751"/>
                  <a:pt x="1163330" y="176238"/>
                </a:cubicBezTo>
                <a:cubicBezTo>
                  <a:pt x="1157017" y="164726"/>
                  <a:pt x="1148470" y="155813"/>
                  <a:pt x="1137705" y="149501"/>
                </a:cubicBezTo>
                <a:cubicBezTo>
                  <a:pt x="1126932" y="143172"/>
                  <a:pt x="1114681" y="140027"/>
                  <a:pt x="1100933" y="140027"/>
                </a:cubicBezTo>
                <a:close/>
                <a:moveTo>
                  <a:pt x="473731" y="135036"/>
                </a:moveTo>
                <a:cubicBezTo>
                  <a:pt x="461472" y="135036"/>
                  <a:pt x="450219" y="137539"/>
                  <a:pt x="440022" y="142552"/>
                </a:cubicBezTo>
                <a:cubicBezTo>
                  <a:pt x="429786" y="147565"/>
                  <a:pt x="421629" y="156023"/>
                  <a:pt x="415495" y="167900"/>
                </a:cubicBezTo>
                <a:cubicBezTo>
                  <a:pt x="412668" y="173409"/>
                  <a:pt x="410482" y="179909"/>
                  <a:pt x="408963" y="187408"/>
                </a:cubicBezTo>
                <a:lnTo>
                  <a:pt x="539621" y="187408"/>
                </a:lnTo>
                <a:cubicBezTo>
                  <a:pt x="538257" y="178113"/>
                  <a:pt x="535462" y="170111"/>
                  <a:pt x="531099" y="163440"/>
                </a:cubicBezTo>
                <a:cubicBezTo>
                  <a:pt x="524794" y="153797"/>
                  <a:pt x="516630" y="146655"/>
                  <a:pt x="506578" y="142000"/>
                </a:cubicBezTo>
                <a:cubicBezTo>
                  <a:pt x="496553" y="137368"/>
                  <a:pt x="485593" y="135036"/>
                  <a:pt x="473731" y="135036"/>
                </a:cubicBezTo>
                <a:close/>
                <a:moveTo>
                  <a:pt x="1288935" y="78176"/>
                </a:moveTo>
                <a:lnTo>
                  <a:pt x="1365281" y="78176"/>
                </a:lnTo>
                <a:lnTo>
                  <a:pt x="1365281" y="235850"/>
                </a:lnTo>
                <a:cubicBezTo>
                  <a:pt x="1365281" y="255170"/>
                  <a:pt x="1370295" y="269746"/>
                  <a:pt x="1380312" y="279576"/>
                </a:cubicBezTo>
                <a:cubicBezTo>
                  <a:pt x="1390362" y="289439"/>
                  <a:pt x="1403719" y="294363"/>
                  <a:pt x="1420431" y="294363"/>
                </a:cubicBezTo>
                <a:cubicBezTo>
                  <a:pt x="1437508" y="294363"/>
                  <a:pt x="1450980" y="289439"/>
                  <a:pt x="1460827" y="279576"/>
                </a:cubicBezTo>
                <a:cubicBezTo>
                  <a:pt x="1470674" y="269746"/>
                  <a:pt x="1475589" y="255170"/>
                  <a:pt x="1475589" y="235850"/>
                </a:cubicBezTo>
                <a:lnTo>
                  <a:pt x="1475589" y="78176"/>
                </a:lnTo>
                <a:lnTo>
                  <a:pt x="1551902" y="78176"/>
                </a:lnTo>
                <a:lnTo>
                  <a:pt x="1551902" y="244210"/>
                </a:lnTo>
                <a:cubicBezTo>
                  <a:pt x="1551902" y="267991"/>
                  <a:pt x="1546345" y="288773"/>
                  <a:pt x="1535190" y="306607"/>
                </a:cubicBezTo>
                <a:cubicBezTo>
                  <a:pt x="1524067" y="324432"/>
                  <a:pt x="1508647" y="338178"/>
                  <a:pt x="1488953" y="347839"/>
                </a:cubicBezTo>
                <a:cubicBezTo>
                  <a:pt x="1469284" y="357483"/>
                  <a:pt x="1446430" y="362325"/>
                  <a:pt x="1420431" y="362325"/>
                </a:cubicBezTo>
                <a:cubicBezTo>
                  <a:pt x="1381051" y="362325"/>
                  <a:pt x="1349300" y="351836"/>
                  <a:pt x="1325163" y="330834"/>
                </a:cubicBezTo>
                <a:cubicBezTo>
                  <a:pt x="1301025" y="309864"/>
                  <a:pt x="1288935" y="280981"/>
                  <a:pt x="1288935" y="244210"/>
                </a:cubicBezTo>
                <a:close/>
                <a:moveTo>
                  <a:pt x="475942" y="72641"/>
                </a:moveTo>
                <a:cubicBezTo>
                  <a:pt x="503053" y="72641"/>
                  <a:pt x="527012" y="78490"/>
                  <a:pt x="547811" y="90189"/>
                </a:cubicBezTo>
                <a:cubicBezTo>
                  <a:pt x="568610" y="101880"/>
                  <a:pt x="584965" y="118422"/>
                  <a:pt x="596842" y="139773"/>
                </a:cubicBezTo>
                <a:cubicBezTo>
                  <a:pt x="608745" y="161133"/>
                  <a:pt x="614668" y="186669"/>
                  <a:pt x="614668" y="216380"/>
                </a:cubicBezTo>
                <a:cubicBezTo>
                  <a:pt x="614668" y="228127"/>
                  <a:pt x="613920" y="234961"/>
                  <a:pt x="613555" y="238666"/>
                </a:cubicBezTo>
                <a:lnTo>
                  <a:pt x="407865" y="238666"/>
                </a:lnTo>
                <a:cubicBezTo>
                  <a:pt x="409385" y="248277"/>
                  <a:pt x="412017" y="256637"/>
                  <a:pt x="415780" y="263738"/>
                </a:cubicBezTo>
                <a:cubicBezTo>
                  <a:pt x="422092" y="275632"/>
                  <a:pt x="430810" y="284349"/>
                  <a:pt x="441965" y="289923"/>
                </a:cubicBezTo>
                <a:cubicBezTo>
                  <a:pt x="453120" y="295489"/>
                  <a:pt x="465542" y="298268"/>
                  <a:pt x="479288" y="298268"/>
                </a:cubicBezTo>
                <a:cubicBezTo>
                  <a:pt x="490443" y="298268"/>
                  <a:pt x="499802" y="296796"/>
                  <a:pt x="507432" y="293824"/>
                </a:cubicBezTo>
                <a:cubicBezTo>
                  <a:pt x="515020" y="290841"/>
                  <a:pt x="521349" y="286666"/>
                  <a:pt x="526378" y="281279"/>
                </a:cubicBezTo>
                <a:cubicBezTo>
                  <a:pt x="531375" y="275908"/>
                  <a:pt x="534820" y="269855"/>
                  <a:pt x="536681" y="263161"/>
                </a:cubicBezTo>
                <a:lnTo>
                  <a:pt x="612442" y="263161"/>
                </a:lnTo>
                <a:cubicBezTo>
                  <a:pt x="609460" y="282871"/>
                  <a:pt x="601856" y="300136"/>
                  <a:pt x="589588" y="314995"/>
                </a:cubicBezTo>
                <a:cubicBezTo>
                  <a:pt x="577335" y="329848"/>
                  <a:pt x="561834" y="341450"/>
                  <a:pt x="543090" y="349817"/>
                </a:cubicBezTo>
                <a:cubicBezTo>
                  <a:pt x="524323" y="358162"/>
                  <a:pt x="503053" y="362345"/>
                  <a:pt x="479288" y="362345"/>
                </a:cubicBezTo>
                <a:cubicBezTo>
                  <a:pt x="451064" y="362345"/>
                  <a:pt x="425886" y="356317"/>
                  <a:pt x="403795" y="344228"/>
                </a:cubicBezTo>
                <a:cubicBezTo>
                  <a:pt x="381697" y="332180"/>
                  <a:pt x="364343" y="315272"/>
                  <a:pt x="351701" y="293547"/>
                </a:cubicBezTo>
                <a:cubicBezTo>
                  <a:pt x="339075" y="271806"/>
                  <a:pt x="332770" y="246457"/>
                  <a:pt x="332770" y="217493"/>
                </a:cubicBezTo>
                <a:cubicBezTo>
                  <a:pt x="332770" y="188521"/>
                  <a:pt x="338897" y="163164"/>
                  <a:pt x="351148" y="141438"/>
                </a:cubicBezTo>
                <a:cubicBezTo>
                  <a:pt x="363408" y="119714"/>
                  <a:pt x="380299" y="102823"/>
                  <a:pt x="401846" y="90741"/>
                </a:cubicBezTo>
                <a:cubicBezTo>
                  <a:pt x="423384" y="78676"/>
                  <a:pt x="448090" y="72641"/>
                  <a:pt x="475942" y="72641"/>
                </a:cubicBezTo>
                <a:close/>
                <a:moveTo>
                  <a:pt x="1089803" y="72618"/>
                </a:moveTo>
                <a:cubicBezTo>
                  <a:pt x="1114681" y="72618"/>
                  <a:pt x="1136503" y="78646"/>
                  <a:pt x="1155262" y="90720"/>
                </a:cubicBezTo>
                <a:cubicBezTo>
                  <a:pt x="1162485" y="95375"/>
                  <a:pt x="1169131" y="100761"/>
                  <a:pt x="1175176" y="106855"/>
                </a:cubicBezTo>
                <a:lnTo>
                  <a:pt x="1189515" y="78182"/>
                </a:lnTo>
                <a:lnTo>
                  <a:pt x="1243560" y="78182"/>
                </a:lnTo>
                <a:lnTo>
                  <a:pt x="1243560" y="356750"/>
                </a:lnTo>
                <a:lnTo>
                  <a:pt x="1189515" y="356750"/>
                </a:lnTo>
                <a:lnTo>
                  <a:pt x="1175176" y="328062"/>
                </a:lnTo>
                <a:cubicBezTo>
                  <a:pt x="1169131" y="334155"/>
                  <a:pt x="1162485" y="339550"/>
                  <a:pt x="1155262" y="344205"/>
                </a:cubicBezTo>
                <a:cubicBezTo>
                  <a:pt x="1136503" y="356287"/>
                  <a:pt x="1114681" y="362315"/>
                  <a:pt x="1089803" y="362315"/>
                </a:cubicBezTo>
                <a:cubicBezTo>
                  <a:pt x="1065291" y="362315"/>
                  <a:pt x="1042623" y="356287"/>
                  <a:pt x="1021824" y="344205"/>
                </a:cubicBezTo>
                <a:cubicBezTo>
                  <a:pt x="1001034" y="332140"/>
                  <a:pt x="984224" y="315241"/>
                  <a:pt x="971420" y="293516"/>
                </a:cubicBezTo>
                <a:cubicBezTo>
                  <a:pt x="958599" y="271775"/>
                  <a:pt x="952197" y="246426"/>
                  <a:pt x="952197" y="217470"/>
                </a:cubicBezTo>
                <a:cubicBezTo>
                  <a:pt x="952197" y="188490"/>
                  <a:pt x="958599" y="163142"/>
                  <a:pt x="971420" y="141417"/>
                </a:cubicBezTo>
                <a:cubicBezTo>
                  <a:pt x="984224" y="119691"/>
                  <a:pt x="1001034" y="102792"/>
                  <a:pt x="1021824" y="90720"/>
                </a:cubicBezTo>
                <a:cubicBezTo>
                  <a:pt x="1042623" y="78646"/>
                  <a:pt x="1065291" y="72618"/>
                  <a:pt x="1089803" y="72618"/>
                </a:cubicBezTo>
                <a:close/>
                <a:moveTo>
                  <a:pt x="802554" y="72613"/>
                </a:moveTo>
                <a:cubicBezTo>
                  <a:pt x="825204" y="72613"/>
                  <a:pt x="845353" y="77269"/>
                  <a:pt x="863008" y="86546"/>
                </a:cubicBezTo>
                <a:cubicBezTo>
                  <a:pt x="880630" y="95833"/>
                  <a:pt x="894661" y="109189"/>
                  <a:pt x="905069" y="126657"/>
                </a:cubicBezTo>
                <a:cubicBezTo>
                  <a:pt x="915452" y="144125"/>
                  <a:pt x="920667" y="164907"/>
                  <a:pt x="920667" y="189062"/>
                </a:cubicBezTo>
                <a:lnTo>
                  <a:pt x="920667" y="356745"/>
                </a:lnTo>
                <a:lnTo>
                  <a:pt x="844338" y="356745"/>
                </a:lnTo>
                <a:lnTo>
                  <a:pt x="844338" y="200753"/>
                </a:lnTo>
                <a:cubicBezTo>
                  <a:pt x="844338" y="188127"/>
                  <a:pt x="841924" y="177265"/>
                  <a:pt x="837099" y="168166"/>
                </a:cubicBezTo>
                <a:cubicBezTo>
                  <a:pt x="832273" y="159066"/>
                  <a:pt x="825480" y="152103"/>
                  <a:pt x="816771" y="147270"/>
                </a:cubicBezTo>
                <a:cubicBezTo>
                  <a:pt x="808029" y="142443"/>
                  <a:pt x="797905" y="140023"/>
                  <a:pt x="786393" y="140023"/>
                </a:cubicBezTo>
                <a:cubicBezTo>
                  <a:pt x="768577" y="140023"/>
                  <a:pt x="754366" y="145312"/>
                  <a:pt x="743764" y="155898"/>
                </a:cubicBezTo>
                <a:cubicBezTo>
                  <a:pt x="733193" y="166484"/>
                  <a:pt x="727904" y="181450"/>
                  <a:pt x="727904" y="200753"/>
                </a:cubicBezTo>
                <a:lnTo>
                  <a:pt x="727904" y="356745"/>
                </a:lnTo>
                <a:lnTo>
                  <a:pt x="651575" y="356745"/>
                </a:lnTo>
                <a:lnTo>
                  <a:pt x="651575" y="78186"/>
                </a:lnTo>
                <a:lnTo>
                  <a:pt x="705627" y="78186"/>
                </a:lnTo>
                <a:lnTo>
                  <a:pt x="719935" y="106817"/>
                </a:lnTo>
                <a:cubicBezTo>
                  <a:pt x="727491" y="98351"/>
                  <a:pt x="736606" y="91186"/>
                  <a:pt x="747404" y="85433"/>
                </a:cubicBezTo>
                <a:cubicBezTo>
                  <a:pt x="763360" y="76886"/>
                  <a:pt x="781738" y="72613"/>
                  <a:pt x="802554" y="72613"/>
                </a:cubicBezTo>
                <a:close/>
                <a:moveTo>
                  <a:pt x="99221" y="69274"/>
                </a:moveTo>
                <a:lnTo>
                  <a:pt x="99221" y="173455"/>
                </a:lnTo>
                <a:lnTo>
                  <a:pt x="174975" y="173455"/>
                </a:lnTo>
                <a:cubicBezTo>
                  <a:pt x="192792" y="173455"/>
                  <a:pt x="206629" y="168824"/>
                  <a:pt x="216476" y="159538"/>
                </a:cubicBezTo>
                <a:cubicBezTo>
                  <a:pt x="226323" y="150251"/>
                  <a:pt x="231245" y="137626"/>
                  <a:pt x="231245" y="121645"/>
                </a:cubicBezTo>
                <a:cubicBezTo>
                  <a:pt x="231245" y="104933"/>
                  <a:pt x="226323" y="92031"/>
                  <a:pt x="216476" y="82932"/>
                </a:cubicBezTo>
                <a:cubicBezTo>
                  <a:pt x="206629" y="73831"/>
                  <a:pt x="192792" y="69274"/>
                  <a:pt x="174975" y="69274"/>
                </a:cubicBezTo>
                <a:close/>
                <a:moveTo>
                  <a:pt x="21202" y="183"/>
                </a:moveTo>
                <a:lnTo>
                  <a:pt x="172741" y="183"/>
                </a:lnTo>
                <a:cubicBezTo>
                  <a:pt x="215817" y="183"/>
                  <a:pt x="249534" y="10785"/>
                  <a:pt x="273867" y="31949"/>
                </a:cubicBezTo>
                <a:cubicBezTo>
                  <a:pt x="298183" y="53122"/>
                  <a:pt x="310354" y="82647"/>
                  <a:pt x="310354" y="120532"/>
                </a:cubicBezTo>
                <a:cubicBezTo>
                  <a:pt x="310354" y="157669"/>
                  <a:pt x="298183" y="186925"/>
                  <a:pt x="273867" y="208277"/>
                </a:cubicBezTo>
                <a:cubicBezTo>
                  <a:pt x="265620" y="215533"/>
                  <a:pt x="256278" y="221503"/>
                  <a:pt x="245878" y="226289"/>
                </a:cubicBezTo>
                <a:lnTo>
                  <a:pt x="321509" y="356753"/>
                </a:lnTo>
                <a:lnTo>
                  <a:pt x="231815" y="356753"/>
                </a:lnTo>
                <a:lnTo>
                  <a:pt x="170206" y="240312"/>
                </a:lnTo>
                <a:lnTo>
                  <a:pt x="99221" y="240312"/>
                </a:lnTo>
                <a:lnTo>
                  <a:pt x="99221" y="356753"/>
                </a:lnTo>
                <a:lnTo>
                  <a:pt x="21202" y="356753"/>
                </a:lnTo>
                <a:close/>
                <a:moveTo>
                  <a:pt x="1714417" y="148"/>
                </a:moveTo>
                <a:lnTo>
                  <a:pt x="1790771" y="148"/>
                </a:lnTo>
                <a:lnTo>
                  <a:pt x="1790771" y="78161"/>
                </a:lnTo>
                <a:lnTo>
                  <a:pt x="1876323" y="78161"/>
                </a:lnTo>
                <a:lnTo>
                  <a:pt x="1876323" y="141671"/>
                </a:lnTo>
                <a:lnTo>
                  <a:pt x="1790771" y="141671"/>
                </a:lnTo>
                <a:lnTo>
                  <a:pt x="1790771" y="246972"/>
                </a:lnTo>
                <a:cubicBezTo>
                  <a:pt x="1790771" y="260727"/>
                  <a:pt x="1793924" y="270753"/>
                  <a:pt x="1800229" y="277050"/>
                </a:cubicBezTo>
                <a:cubicBezTo>
                  <a:pt x="1806532" y="283370"/>
                  <a:pt x="1816550" y="286523"/>
                  <a:pt x="1830314" y="286523"/>
                </a:cubicBezTo>
                <a:lnTo>
                  <a:pt x="1876550" y="286523"/>
                </a:lnTo>
                <a:lnTo>
                  <a:pt x="1876550" y="356727"/>
                </a:lnTo>
                <a:lnTo>
                  <a:pt x="1828079" y="356727"/>
                </a:lnTo>
                <a:cubicBezTo>
                  <a:pt x="1801342" y="356727"/>
                  <a:pt x="1779616" y="353096"/>
                  <a:pt x="1762904" y="345864"/>
                </a:cubicBezTo>
                <a:cubicBezTo>
                  <a:pt x="1746192" y="338610"/>
                  <a:pt x="1733933" y="327284"/>
                  <a:pt x="1726124" y="311872"/>
                </a:cubicBezTo>
                <a:cubicBezTo>
                  <a:pt x="1718325" y="296476"/>
                  <a:pt x="1714417" y="276879"/>
                  <a:pt x="1714417" y="253082"/>
                </a:cubicBezTo>
                <a:close/>
                <a:moveTo>
                  <a:pt x="1595217" y="0"/>
                </a:moveTo>
                <a:lnTo>
                  <a:pt x="1671555" y="0"/>
                </a:lnTo>
                <a:lnTo>
                  <a:pt x="1671555" y="356555"/>
                </a:lnTo>
                <a:lnTo>
                  <a:pt x="1595217" y="35655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grpSp>
        <p:nvGrpSpPr>
          <p:cNvPr id="45" name="Groupe 44">
            <a:extLst>
              <a:ext uri="{FF2B5EF4-FFF2-40B4-BE49-F238E27FC236}">
                <a16:creationId xmlns:a16="http://schemas.microsoft.com/office/drawing/2014/main" id="{ACD5F8B7-091C-EB47-B758-857D68C4D138}"/>
              </a:ext>
            </a:extLst>
          </p:cNvPr>
          <p:cNvGrpSpPr/>
          <p:nvPr userDrawn="1"/>
        </p:nvGrpSpPr>
        <p:grpSpPr>
          <a:xfrm>
            <a:off x="9779653" y="518988"/>
            <a:ext cx="1923397" cy="805400"/>
            <a:chOff x="9314925" y="620617"/>
            <a:chExt cx="2221200" cy="930102"/>
          </a:xfrm>
        </p:grpSpPr>
        <p:sp>
          <p:nvSpPr>
            <p:cNvPr id="46" name="Forme libre 45">
              <a:extLst>
                <a:ext uri="{FF2B5EF4-FFF2-40B4-BE49-F238E27FC236}">
                  <a16:creationId xmlns:a16="http://schemas.microsoft.com/office/drawing/2014/main" id="{3FCF7701-235F-3D4E-8269-B3FD2A5E08B0}"/>
                </a:ext>
              </a:extLst>
            </p:cNvPr>
            <p:cNvSpPr/>
            <p:nvPr/>
          </p:nvSpPr>
          <p:spPr>
            <a:xfrm>
              <a:off x="9314925" y="647221"/>
              <a:ext cx="276558" cy="350749"/>
            </a:xfrm>
            <a:custGeom>
              <a:avLst/>
              <a:gdLst>
                <a:gd name="connsiteX0" fmla="*/ 347823 w 665192"/>
                <a:gd name="connsiteY0" fmla="*/ 511341 h 843646"/>
                <a:gd name="connsiteX1" fmla="*/ 276164 w 665192"/>
                <a:gd name="connsiteY1" fmla="*/ 501073 h 843646"/>
                <a:gd name="connsiteX2" fmla="*/ 4948 w 665192"/>
                <a:gd name="connsiteY2" fmla="*/ 253104 h 843646"/>
                <a:gd name="connsiteX3" fmla="*/ 318417 w 665192"/>
                <a:gd name="connsiteY3" fmla="*/ 0 h 843646"/>
                <a:gd name="connsiteX4" fmla="*/ 643400 w 665192"/>
                <a:gd name="connsiteY4" fmla="*/ 260805 h 843646"/>
                <a:gd name="connsiteX5" fmla="*/ 460496 w 665192"/>
                <a:gd name="connsiteY5" fmla="*/ 260805 h 843646"/>
                <a:gd name="connsiteX6" fmla="*/ 319749 w 665192"/>
                <a:gd name="connsiteY6" fmla="*/ 157263 h 843646"/>
                <a:gd name="connsiteX7" fmla="*/ 187948 w 665192"/>
                <a:gd name="connsiteY7" fmla="*/ 241599 h 843646"/>
                <a:gd name="connsiteX8" fmla="*/ 345348 w 665192"/>
                <a:gd name="connsiteY8" fmla="*/ 331069 h 843646"/>
                <a:gd name="connsiteX9" fmla="*/ 417006 w 665192"/>
                <a:gd name="connsiteY9" fmla="*/ 342574 h 843646"/>
                <a:gd name="connsiteX10" fmla="*/ 665193 w 665192"/>
                <a:gd name="connsiteY10" fmla="*/ 582842 h 843646"/>
                <a:gd name="connsiteX11" fmla="*/ 344111 w 665192"/>
                <a:gd name="connsiteY11" fmla="*/ 843647 h 843646"/>
                <a:gd name="connsiteX12" fmla="*/ 0 w 665192"/>
                <a:gd name="connsiteY12" fmla="*/ 573904 h 843646"/>
                <a:gd name="connsiteX13" fmla="*/ 188043 w 665192"/>
                <a:gd name="connsiteY13" fmla="*/ 573904 h 843646"/>
                <a:gd name="connsiteX14" fmla="*/ 346681 w 665192"/>
                <a:gd name="connsiteY14" fmla="*/ 685148 h 843646"/>
                <a:gd name="connsiteX15" fmla="*/ 478482 w 665192"/>
                <a:gd name="connsiteY15" fmla="*/ 600812 h 843646"/>
                <a:gd name="connsiteX16" fmla="*/ 347823 w 665192"/>
                <a:gd name="connsiteY16" fmla="*/ 511341 h 84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5192" h="843646">
                  <a:moveTo>
                    <a:pt x="347823" y="511341"/>
                  </a:moveTo>
                  <a:lnTo>
                    <a:pt x="276164" y="501073"/>
                  </a:lnTo>
                  <a:cubicBezTo>
                    <a:pt x="104775" y="472929"/>
                    <a:pt x="4948" y="384790"/>
                    <a:pt x="4948" y="253104"/>
                  </a:cubicBezTo>
                  <a:cubicBezTo>
                    <a:pt x="4948" y="99739"/>
                    <a:pt x="129042" y="0"/>
                    <a:pt x="318417" y="0"/>
                  </a:cubicBezTo>
                  <a:cubicBezTo>
                    <a:pt x="503891" y="0"/>
                    <a:pt x="643400" y="98408"/>
                    <a:pt x="643400" y="260805"/>
                  </a:cubicBezTo>
                  <a:lnTo>
                    <a:pt x="460496" y="260805"/>
                  </a:lnTo>
                  <a:cubicBezTo>
                    <a:pt x="460496" y="194344"/>
                    <a:pt x="402922" y="157263"/>
                    <a:pt x="319749" y="157263"/>
                  </a:cubicBezTo>
                  <a:cubicBezTo>
                    <a:pt x="244285" y="157263"/>
                    <a:pt x="187948" y="186642"/>
                    <a:pt x="187948" y="241599"/>
                  </a:cubicBezTo>
                  <a:cubicBezTo>
                    <a:pt x="187948" y="293988"/>
                    <a:pt x="232770" y="313194"/>
                    <a:pt x="345348" y="331069"/>
                  </a:cubicBezTo>
                  <a:lnTo>
                    <a:pt x="417006" y="342574"/>
                  </a:lnTo>
                  <a:cubicBezTo>
                    <a:pt x="585922" y="369387"/>
                    <a:pt x="665193" y="456385"/>
                    <a:pt x="665193" y="582842"/>
                  </a:cubicBezTo>
                  <a:cubicBezTo>
                    <a:pt x="665193" y="736206"/>
                    <a:pt x="550045" y="843647"/>
                    <a:pt x="344111" y="843647"/>
                  </a:cubicBezTo>
                  <a:cubicBezTo>
                    <a:pt x="138082" y="843647"/>
                    <a:pt x="0" y="728600"/>
                    <a:pt x="0" y="573904"/>
                  </a:cubicBezTo>
                  <a:lnTo>
                    <a:pt x="188043" y="573904"/>
                  </a:lnTo>
                  <a:cubicBezTo>
                    <a:pt x="188043" y="639129"/>
                    <a:pt x="255895" y="685148"/>
                    <a:pt x="346681" y="685148"/>
                  </a:cubicBezTo>
                  <a:cubicBezTo>
                    <a:pt x="423478" y="685148"/>
                    <a:pt x="478482" y="655768"/>
                    <a:pt x="478482" y="600812"/>
                  </a:cubicBezTo>
                  <a:cubicBezTo>
                    <a:pt x="478292" y="556029"/>
                    <a:pt x="452693" y="529216"/>
                    <a:pt x="347823" y="511341"/>
                  </a:cubicBez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" name="Forme libre 46">
              <a:extLst>
                <a:ext uri="{FF2B5EF4-FFF2-40B4-BE49-F238E27FC236}">
                  <a16:creationId xmlns:a16="http://schemas.microsoft.com/office/drawing/2014/main" id="{5224055D-886B-CD49-A1F5-9F77A3E497C0}"/>
                </a:ext>
              </a:extLst>
            </p:cNvPr>
            <p:cNvSpPr/>
            <p:nvPr/>
          </p:nvSpPr>
          <p:spPr>
            <a:xfrm>
              <a:off x="9620602" y="721617"/>
              <a:ext cx="285618" cy="276355"/>
            </a:xfrm>
            <a:custGeom>
              <a:avLst/>
              <a:gdLst>
                <a:gd name="connsiteX0" fmla="*/ 342874 w 686985"/>
                <a:gd name="connsiteY0" fmla="*/ 664706 h 664705"/>
                <a:gd name="connsiteX1" fmla="*/ 0 w 686985"/>
                <a:gd name="connsiteY1" fmla="*/ 332305 h 664705"/>
                <a:gd name="connsiteX2" fmla="*/ 342874 w 686985"/>
                <a:gd name="connsiteY2" fmla="*/ 0 h 664705"/>
                <a:gd name="connsiteX3" fmla="*/ 686985 w 686985"/>
                <a:gd name="connsiteY3" fmla="*/ 332305 h 664705"/>
                <a:gd name="connsiteX4" fmla="*/ 342874 w 686985"/>
                <a:gd name="connsiteY4" fmla="*/ 664706 h 664705"/>
                <a:gd name="connsiteX5" fmla="*/ 342874 w 686985"/>
                <a:gd name="connsiteY5" fmla="*/ 154695 h 664705"/>
                <a:gd name="connsiteX6" fmla="*/ 176528 w 686985"/>
                <a:gd name="connsiteY6" fmla="*/ 332401 h 664705"/>
                <a:gd name="connsiteX7" fmla="*/ 342874 w 686985"/>
                <a:gd name="connsiteY7" fmla="*/ 508774 h 664705"/>
                <a:gd name="connsiteX8" fmla="*/ 510457 w 686985"/>
                <a:gd name="connsiteY8" fmla="*/ 332401 h 664705"/>
                <a:gd name="connsiteX9" fmla="*/ 342874 w 686985"/>
                <a:gd name="connsiteY9" fmla="*/ 154695 h 66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6985" h="664705">
                  <a:moveTo>
                    <a:pt x="342874" y="664706"/>
                  </a:moveTo>
                  <a:cubicBezTo>
                    <a:pt x="145886" y="664706"/>
                    <a:pt x="0" y="531784"/>
                    <a:pt x="0" y="332305"/>
                  </a:cubicBezTo>
                  <a:cubicBezTo>
                    <a:pt x="0" y="132922"/>
                    <a:pt x="145886" y="0"/>
                    <a:pt x="342874" y="0"/>
                  </a:cubicBezTo>
                  <a:cubicBezTo>
                    <a:pt x="539862" y="0"/>
                    <a:pt x="686985" y="132922"/>
                    <a:pt x="686985" y="332305"/>
                  </a:cubicBezTo>
                  <a:cubicBezTo>
                    <a:pt x="686985" y="531784"/>
                    <a:pt x="539862" y="664706"/>
                    <a:pt x="342874" y="664706"/>
                  </a:cubicBezTo>
                  <a:close/>
                  <a:moveTo>
                    <a:pt x="342874" y="154695"/>
                  </a:moveTo>
                  <a:cubicBezTo>
                    <a:pt x="246949" y="154695"/>
                    <a:pt x="176528" y="223724"/>
                    <a:pt x="176528" y="332401"/>
                  </a:cubicBezTo>
                  <a:cubicBezTo>
                    <a:pt x="176528" y="441077"/>
                    <a:pt x="246854" y="508774"/>
                    <a:pt x="342874" y="508774"/>
                  </a:cubicBezTo>
                  <a:cubicBezTo>
                    <a:pt x="438894" y="508774"/>
                    <a:pt x="510457" y="441077"/>
                    <a:pt x="510457" y="332401"/>
                  </a:cubicBezTo>
                  <a:cubicBezTo>
                    <a:pt x="510457" y="223724"/>
                    <a:pt x="438799" y="154695"/>
                    <a:pt x="342874" y="154695"/>
                  </a:cubicBez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" name="Forme libre 47">
              <a:extLst>
                <a:ext uri="{FF2B5EF4-FFF2-40B4-BE49-F238E27FC236}">
                  <a16:creationId xmlns:a16="http://schemas.microsoft.com/office/drawing/2014/main" id="{2EDB883E-300D-3A47-B03E-3ECC78F078AD}"/>
                </a:ext>
              </a:extLst>
            </p:cNvPr>
            <p:cNvSpPr/>
            <p:nvPr/>
          </p:nvSpPr>
          <p:spPr>
            <a:xfrm>
              <a:off x="9921175" y="620617"/>
              <a:ext cx="194143" cy="372018"/>
            </a:xfrm>
            <a:custGeom>
              <a:avLst/>
              <a:gdLst>
                <a:gd name="connsiteX0" fmla="*/ 0 w 466967"/>
                <a:gd name="connsiteY0" fmla="*/ 277444 h 894799"/>
                <a:gd name="connsiteX1" fmla="*/ 89549 w 466967"/>
                <a:gd name="connsiteY1" fmla="*/ 277444 h 894799"/>
                <a:gd name="connsiteX2" fmla="*/ 89549 w 466967"/>
                <a:gd name="connsiteY2" fmla="*/ 235229 h 894799"/>
                <a:gd name="connsiteX3" fmla="*/ 350582 w 466967"/>
                <a:gd name="connsiteY3" fmla="*/ 0 h 894799"/>
                <a:gd name="connsiteX4" fmla="*/ 466967 w 466967"/>
                <a:gd name="connsiteY4" fmla="*/ 12741 h 894799"/>
                <a:gd name="connsiteX5" fmla="*/ 466967 w 466967"/>
                <a:gd name="connsiteY5" fmla="*/ 153364 h 894799"/>
                <a:gd name="connsiteX6" fmla="*/ 368473 w 466967"/>
                <a:gd name="connsiteY6" fmla="*/ 140624 h 894799"/>
                <a:gd name="connsiteX7" fmla="*/ 264840 w 466967"/>
                <a:gd name="connsiteY7" fmla="*/ 230094 h 894799"/>
                <a:gd name="connsiteX8" fmla="*/ 264840 w 466967"/>
                <a:gd name="connsiteY8" fmla="*/ 277349 h 894799"/>
                <a:gd name="connsiteX9" fmla="*/ 452883 w 466967"/>
                <a:gd name="connsiteY9" fmla="*/ 277349 h 894799"/>
                <a:gd name="connsiteX10" fmla="*/ 452883 w 466967"/>
                <a:gd name="connsiteY10" fmla="*/ 423107 h 894799"/>
                <a:gd name="connsiteX11" fmla="*/ 264840 w 466967"/>
                <a:gd name="connsiteY11" fmla="*/ 423107 h 894799"/>
                <a:gd name="connsiteX12" fmla="*/ 264840 w 466967"/>
                <a:gd name="connsiteY12" fmla="*/ 894800 h 894799"/>
                <a:gd name="connsiteX13" fmla="*/ 89549 w 466967"/>
                <a:gd name="connsiteY13" fmla="*/ 894800 h 894799"/>
                <a:gd name="connsiteX14" fmla="*/ 89549 w 466967"/>
                <a:gd name="connsiteY14" fmla="*/ 423107 h 894799"/>
                <a:gd name="connsiteX15" fmla="*/ 0 w 466967"/>
                <a:gd name="connsiteY15" fmla="*/ 423107 h 894799"/>
                <a:gd name="connsiteX16" fmla="*/ 0 w 466967"/>
                <a:gd name="connsiteY16" fmla="*/ 277444 h 89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967" h="894799">
                  <a:moveTo>
                    <a:pt x="0" y="277444"/>
                  </a:moveTo>
                  <a:lnTo>
                    <a:pt x="89549" y="277444"/>
                  </a:lnTo>
                  <a:lnTo>
                    <a:pt x="89549" y="235229"/>
                  </a:lnTo>
                  <a:cubicBezTo>
                    <a:pt x="89549" y="77966"/>
                    <a:pt x="176528" y="0"/>
                    <a:pt x="350582" y="0"/>
                  </a:cubicBezTo>
                  <a:cubicBezTo>
                    <a:pt x="392835" y="0"/>
                    <a:pt x="431186" y="5134"/>
                    <a:pt x="466967" y="12741"/>
                  </a:cubicBezTo>
                  <a:lnTo>
                    <a:pt x="466967" y="153364"/>
                  </a:lnTo>
                  <a:cubicBezTo>
                    <a:pt x="434992" y="145663"/>
                    <a:pt x="397879" y="140624"/>
                    <a:pt x="368473" y="140624"/>
                  </a:cubicBezTo>
                  <a:cubicBezTo>
                    <a:pt x="298147" y="140624"/>
                    <a:pt x="264840" y="168767"/>
                    <a:pt x="264840" y="230094"/>
                  </a:cubicBezTo>
                  <a:lnTo>
                    <a:pt x="264840" y="277349"/>
                  </a:lnTo>
                  <a:lnTo>
                    <a:pt x="452883" y="277349"/>
                  </a:lnTo>
                  <a:lnTo>
                    <a:pt x="452883" y="423107"/>
                  </a:lnTo>
                  <a:lnTo>
                    <a:pt x="264840" y="423107"/>
                  </a:lnTo>
                  <a:lnTo>
                    <a:pt x="264840" y="894800"/>
                  </a:lnTo>
                  <a:lnTo>
                    <a:pt x="89549" y="894800"/>
                  </a:lnTo>
                  <a:lnTo>
                    <a:pt x="89549" y="423107"/>
                  </a:lnTo>
                  <a:lnTo>
                    <a:pt x="0" y="423107"/>
                  </a:lnTo>
                  <a:lnTo>
                    <a:pt x="0" y="277444"/>
                  </a:ln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" name="Forme libre 48">
              <a:extLst>
                <a:ext uri="{FF2B5EF4-FFF2-40B4-BE49-F238E27FC236}">
                  <a16:creationId xmlns:a16="http://schemas.microsoft.com/office/drawing/2014/main" id="{1BC1E72E-A379-C84E-93DC-00A982121FDF}"/>
                </a:ext>
              </a:extLst>
            </p:cNvPr>
            <p:cNvSpPr/>
            <p:nvPr/>
          </p:nvSpPr>
          <p:spPr>
            <a:xfrm>
              <a:off x="10138860" y="663151"/>
              <a:ext cx="154816" cy="329482"/>
            </a:xfrm>
            <a:custGeom>
              <a:avLst/>
              <a:gdLst>
                <a:gd name="connsiteX0" fmla="*/ 95 w 372374"/>
                <a:gd name="connsiteY0" fmla="*/ 0 h 792493"/>
                <a:gd name="connsiteX1" fmla="*/ 175387 w 372374"/>
                <a:gd name="connsiteY1" fmla="*/ 0 h 792493"/>
                <a:gd name="connsiteX2" fmla="*/ 175387 w 372374"/>
                <a:gd name="connsiteY2" fmla="*/ 153364 h 792493"/>
                <a:gd name="connsiteX3" fmla="*/ 359623 w 372374"/>
                <a:gd name="connsiteY3" fmla="*/ 153364 h 792493"/>
                <a:gd name="connsiteX4" fmla="*/ 359623 w 372374"/>
                <a:gd name="connsiteY4" fmla="*/ 299122 h 792493"/>
                <a:gd name="connsiteX5" fmla="*/ 175387 w 372374"/>
                <a:gd name="connsiteY5" fmla="*/ 299122 h 792493"/>
                <a:gd name="connsiteX6" fmla="*/ 175387 w 372374"/>
                <a:gd name="connsiteY6" fmla="*/ 540721 h 792493"/>
                <a:gd name="connsiteX7" fmla="*/ 271311 w 372374"/>
                <a:gd name="connsiteY7" fmla="*/ 631428 h 792493"/>
                <a:gd name="connsiteX8" fmla="*/ 372375 w 372374"/>
                <a:gd name="connsiteY8" fmla="*/ 631428 h 792493"/>
                <a:gd name="connsiteX9" fmla="*/ 372375 w 372374"/>
                <a:gd name="connsiteY9" fmla="*/ 792494 h 792493"/>
                <a:gd name="connsiteX10" fmla="*/ 261034 w 372374"/>
                <a:gd name="connsiteY10" fmla="*/ 792494 h 792493"/>
                <a:gd name="connsiteX11" fmla="*/ 0 w 372374"/>
                <a:gd name="connsiteY11" fmla="*/ 554698 h 792493"/>
                <a:gd name="connsiteX12" fmla="*/ 0 w 372374"/>
                <a:gd name="connsiteY12" fmla="*/ 0 h 792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2374" h="792493">
                  <a:moveTo>
                    <a:pt x="95" y="0"/>
                  </a:moveTo>
                  <a:lnTo>
                    <a:pt x="175387" y="0"/>
                  </a:lnTo>
                  <a:lnTo>
                    <a:pt x="175387" y="153364"/>
                  </a:lnTo>
                  <a:lnTo>
                    <a:pt x="359623" y="153364"/>
                  </a:lnTo>
                  <a:lnTo>
                    <a:pt x="359623" y="299122"/>
                  </a:lnTo>
                  <a:lnTo>
                    <a:pt x="175387" y="299122"/>
                  </a:lnTo>
                  <a:lnTo>
                    <a:pt x="175387" y="540721"/>
                  </a:lnTo>
                  <a:cubicBezTo>
                    <a:pt x="175387" y="603379"/>
                    <a:pt x="202222" y="631428"/>
                    <a:pt x="271311" y="631428"/>
                  </a:cubicBezTo>
                  <a:lnTo>
                    <a:pt x="372375" y="631428"/>
                  </a:lnTo>
                  <a:lnTo>
                    <a:pt x="372375" y="792494"/>
                  </a:lnTo>
                  <a:lnTo>
                    <a:pt x="261034" y="792494"/>
                  </a:lnTo>
                  <a:cubicBezTo>
                    <a:pt x="75560" y="792494"/>
                    <a:pt x="0" y="719662"/>
                    <a:pt x="0" y="55469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" name="Forme libre 49">
              <a:extLst>
                <a:ext uri="{FF2B5EF4-FFF2-40B4-BE49-F238E27FC236}">
                  <a16:creationId xmlns:a16="http://schemas.microsoft.com/office/drawing/2014/main" id="{83C52138-AC75-8F42-983F-D763D6A1C636}"/>
                </a:ext>
              </a:extLst>
            </p:cNvPr>
            <p:cNvSpPr/>
            <p:nvPr/>
          </p:nvSpPr>
          <p:spPr>
            <a:xfrm>
              <a:off x="10309026" y="726951"/>
              <a:ext cx="429198" cy="265720"/>
            </a:xfrm>
            <a:custGeom>
              <a:avLst/>
              <a:gdLst>
                <a:gd name="connsiteX0" fmla="*/ 525874 w 1032333"/>
                <a:gd name="connsiteY0" fmla="*/ 297791 h 639129"/>
                <a:gd name="connsiteX1" fmla="*/ 387696 w 1032333"/>
                <a:gd name="connsiteY1" fmla="*/ 639129 h 639129"/>
                <a:gd name="connsiteX2" fmla="*/ 221350 w 1032333"/>
                <a:gd name="connsiteY2" fmla="*/ 639129 h 639129"/>
                <a:gd name="connsiteX3" fmla="*/ 0 w 1032333"/>
                <a:gd name="connsiteY3" fmla="*/ 0 h 639129"/>
                <a:gd name="connsiteX4" fmla="*/ 176528 w 1032333"/>
                <a:gd name="connsiteY4" fmla="*/ 0 h 639129"/>
                <a:gd name="connsiteX5" fmla="*/ 319845 w 1032333"/>
                <a:gd name="connsiteY5" fmla="*/ 429477 h 639129"/>
                <a:gd name="connsiteX6" fmla="*/ 452883 w 1032333"/>
                <a:gd name="connsiteY6" fmla="*/ 106110 h 639129"/>
                <a:gd name="connsiteX7" fmla="*/ 411963 w 1032333"/>
                <a:gd name="connsiteY7" fmla="*/ 0 h 639129"/>
                <a:gd name="connsiteX8" fmla="*/ 588491 w 1032333"/>
                <a:gd name="connsiteY8" fmla="*/ 0 h 639129"/>
                <a:gd name="connsiteX9" fmla="*/ 747129 w 1032333"/>
                <a:gd name="connsiteY9" fmla="*/ 429477 h 639129"/>
                <a:gd name="connsiteX10" fmla="*/ 872459 w 1032333"/>
                <a:gd name="connsiteY10" fmla="*/ 0 h 639129"/>
                <a:gd name="connsiteX11" fmla="*/ 1032334 w 1032333"/>
                <a:gd name="connsiteY11" fmla="*/ 0 h 639129"/>
                <a:gd name="connsiteX12" fmla="*/ 835345 w 1032333"/>
                <a:gd name="connsiteY12" fmla="*/ 639129 h 639129"/>
                <a:gd name="connsiteX13" fmla="*/ 656247 w 1032333"/>
                <a:gd name="connsiteY13" fmla="*/ 639129 h 639129"/>
                <a:gd name="connsiteX14" fmla="*/ 525874 w 1032333"/>
                <a:gd name="connsiteY14" fmla="*/ 297791 h 639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32333" h="639129">
                  <a:moveTo>
                    <a:pt x="525874" y="297791"/>
                  </a:moveTo>
                  <a:lnTo>
                    <a:pt x="387696" y="639129"/>
                  </a:lnTo>
                  <a:lnTo>
                    <a:pt x="221350" y="639129"/>
                  </a:lnTo>
                  <a:lnTo>
                    <a:pt x="0" y="0"/>
                  </a:lnTo>
                  <a:lnTo>
                    <a:pt x="176528" y="0"/>
                  </a:lnTo>
                  <a:lnTo>
                    <a:pt x="319845" y="429477"/>
                  </a:lnTo>
                  <a:lnTo>
                    <a:pt x="452883" y="106110"/>
                  </a:lnTo>
                  <a:lnTo>
                    <a:pt x="411963" y="0"/>
                  </a:lnTo>
                  <a:lnTo>
                    <a:pt x="588491" y="0"/>
                  </a:lnTo>
                  <a:lnTo>
                    <a:pt x="747129" y="429477"/>
                  </a:lnTo>
                  <a:lnTo>
                    <a:pt x="872459" y="0"/>
                  </a:lnTo>
                  <a:lnTo>
                    <a:pt x="1032334" y="0"/>
                  </a:lnTo>
                  <a:lnTo>
                    <a:pt x="835345" y="639129"/>
                  </a:lnTo>
                  <a:lnTo>
                    <a:pt x="656247" y="639129"/>
                  </a:lnTo>
                  <a:lnTo>
                    <a:pt x="525874" y="297791"/>
                  </a:ln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" name="Forme libre 50">
              <a:extLst>
                <a:ext uri="{FF2B5EF4-FFF2-40B4-BE49-F238E27FC236}">
                  <a16:creationId xmlns:a16="http://schemas.microsoft.com/office/drawing/2014/main" id="{044AD902-6775-0B47-9979-1F15132FBAF2}"/>
                </a:ext>
              </a:extLst>
            </p:cNvPr>
            <p:cNvSpPr/>
            <p:nvPr/>
          </p:nvSpPr>
          <p:spPr>
            <a:xfrm>
              <a:off x="10742695" y="721617"/>
              <a:ext cx="278179" cy="276355"/>
            </a:xfrm>
            <a:custGeom>
              <a:avLst/>
              <a:gdLst>
                <a:gd name="connsiteX0" fmla="*/ 545001 w 669094"/>
                <a:gd name="connsiteY0" fmla="*/ 651965 h 664705"/>
                <a:gd name="connsiteX1" fmla="*/ 511789 w 669094"/>
                <a:gd name="connsiteY1" fmla="*/ 586740 h 664705"/>
                <a:gd name="connsiteX2" fmla="*/ 316038 w 669094"/>
                <a:gd name="connsiteY2" fmla="*/ 664706 h 664705"/>
                <a:gd name="connsiteX3" fmla="*/ 0 w 669094"/>
                <a:gd name="connsiteY3" fmla="*/ 332305 h 664705"/>
                <a:gd name="connsiteX4" fmla="*/ 316038 w 669094"/>
                <a:gd name="connsiteY4" fmla="*/ 0 h 664705"/>
                <a:gd name="connsiteX5" fmla="*/ 511789 w 669094"/>
                <a:gd name="connsiteY5" fmla="*/ 77966 h 664705"/>
                <a:gd name="connsiteX6" fmla="*/ 545001 w 669094"/>
                <a:gd name="connsiteY6" fmla="*/ 12741 h 664705"/>
                <a:gd name="connsiteX7" fmla="*/ 669094 w 669094"/>
                <a:gd name="connsiteY7" fmla="*/ 12741 h 664705"/>
                <a:gd name="connsiteX8" fmla="*/ 669094 w 669094"/>
                <a:gd name="connsiteY8" fmla="*/ 651870 h 664705"/>
                <a:gd name="connsiteX9" fmla="*/ 545001 w 669094"/>
                <a:gd name="connsiteY9" fmla="*/ 651870 h 664705"/>
                <a:gd name="connsiteX10" fmla="*/ 341542 w 669094"/>
                <a:gd name="connsiteY10" fmla="*/ 154695 h 664705"/>
                <a:gd name="connsiteX11" fmla="*/ 176528 w 669094"/>
                <a:gd name="connsiteY11" fmla="*/ 332401 h 664705"/>
                <a:gd name="connsiteX12" fmla="*/ 341542 w 669094"/>
                <a:gd name="connsiteY12" fmla="*/ 508774 h 664705"/>
                <a:gd name="connsiteX13" fmla="*/ 506555 w 669094"/>
                <a:gd name="connsiteY13" fmla="*/ 332401 h 664705"/>
                <a:gd name="connsiteX14" fmla="*/ 341542 w 669094"/>
                <a:gd name="connsiteY14" fmla="*/ 154695 h 66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69094" h="664705">
                  <a:moveTo>
                    <a:pt x="545001" y="651965"/>
                  </a:moveTo>
                  <a:lnTo>
                    <a:pt x="511789" y="586740"/>
                  </a:lnTo>
                  <a:cubicBezTo>
                    <a:pt x="461923" y="636562"/>
                    <a:pt x="394072" y="664706"/>
                    <a:pt x="316038" y="664706"/>
                  </a:cubicBezTo>
                  <a:cubicBezTo>
                    <a:pt x="147123" y="664706"/>
                    <a:pt x="0" y="531784"/>
                    <a:pt x="0" y="332305"/>
                  </a:cubicBezTo>
                  <a:cubicBezTo>
                    <a:pt x="0" y="132922"/>
                    <a:pt x="147123" y="0"/>
                    <a:pt x="316038" y="0"/>
                  </a:cubicBezTo>
                  <a:cubicBezTo>
                    <a:pt x="394072" y="0"/>
                    <a:pt x="461923" y="28144"/>
                    <a:pt x="511789" y="77966"/>
                  </a:cubicBezTo>
                  <a:lnTo>
                    <a:pt x="545001" y="12741"/>
                  </a:lnTo>
                  <a:lnTo>
                    <a:pt x="669094" y="12741"/>
                  </a:lnTo>
                  <a:lnTo>
                    <a:pt x="669094" y="651870"/>
                  </a:lnTo>
                  <a:lnTo>
                    <a:pt x="545001" y="651870"/>
                  </a:lnTo>
                  <a:close/>
                  <a:moveTo>
                    <a:pt x="341542" y="154695"/>
                  </a:moveTo>
                  <a:cubicBezTo>
                    <a:pt x="246854" y="154695"/>
                    <a:pt x="176528" y="223724"/>
                    <a:pt x="176528" y="332401"/>
                  </a:cubicBezTo>
                  <a:cubicBezTo>
                    <a:pt x="176528" y="441077"/>
                    <a:pt x="246854" y="508774"/>
                    <a:pt x="341542" y="508774"/>
                  </a:cubicBezTo>
                  <a:cubicBezTo>
                    <a:pt x="434897" y="508774"/>
                    <a:pt x="506555" y="441077"/>
                    <a:pt x="506555" y="332401"/>
                  </a:cubicBezTo>
                  <a:cubicBezTo>
                    <a:pt x="506555" y="223724"/>
                    <a:pt x="434897" y="154695"/>
                    <a:pt x="341542" y="154695"/>
                  </a:cubicBez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" name="Forme libre 51">
              <a:extLst>
                <a:ext uri="{FF2B5EF4-FFF2-40B4-BE49-F238E27FC236}">
                  <a16:creationId xmlns:a16="http://schemas.microsoft.com/office/drawing/2014/main" id="{39A0A5F9-16A0-1B48-A6DC-F80D55DD5C07}"/>
                </a:ext>
              </a:extLst>
            </p:cNvPr>
            <p:cNvSpPr/>
            <p:nvPr/>
          </p:nvSpPr>
          <p:spPr>
            <a:xfrm>
              <a:off x="11078085" y="721617"/>
              <a:ext cx="173965" cy="271057"/>
            </a:xfrm>
            <a:custGeom>
              <a:avLst/>
              <a:gdLst>
                <a:gd name="connsiteX0" fmla="*/ 175291 w 418433"/>
                <a:gd name="connsiteY0" fmla="*/ 651965 h 651964"/>
                <a:gd name="connsiteX1" fmla="*/ 0 w 418433"/>
                <a:gd name="connsiteY1" fmla="*/ 651965 h 651964"/>
                <a:gd name="connsiteX2" fmla="*/ 0 w 418433"/>
                <a:gd name="connsiteY2" fmla="*/ 12836 h 651964"/>
                <a:gd name="connsiteX3" fmla="*/ 120287 w 418433"/>
                <a:gd name="connsiteY3" fmla="*/ 12836 h 651964"/>
                <a:gd name="connsiteX4" fmla="*/ 163777 w 418433"/>
                <a:gd name="connsiteY4" fmla="*/ 99739 h 651964"/>
                <a:gd name="connsiteX5" fmla="*/ 364667 w 418433"/>
                <a:gd name="connsiteY5" fmla="*/ 0 h 651964"/>
                <a:gd name="connsiteX6" fmla="*/ 418434 w 418433"/>
                <a:gd name="connsiteY6" fmla="*/ 5134 h 651964"/>
                <a:gd name="connsiteX7" fmla="*/ 418434 w 418433"/>
                <a:gd name="connsiteY7" fmla="*/ 172571 h 651964"/>
                <a:gd name="connsiteX8" fmla="*/ 340400 w 418433"/>
                <a:gd name="connsiteY8" fmla="*/ 163633 h 651964"/>
                <a:gd name="connsiteX9" fmla="*/ 175386 w 418433"/>
                <a:gd name="connsiteY9" fmla="*/ 314525 h 651964"/>
                <a:gd name="connsiteX10" fmla="*/ 175386 w 418433"/>
                <a:gd name="connsiteY10" fmla="*/ 651965 h 6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8433" h="651964">
                  <a:moveTo>
                    <a:pt x="175291" y="651965"/>
                  </a:moveTo>
                  <a:lnTo>
                    <a:pt x="0" y="651965"/>
                  </a:lnTo>
                  <a:lnTo>
                    <a:pt x="0" y="12836"/>
                  </a:lnTo>
                  <a:lnTo>
                    <a:pt x="120287" y="12836"/>
                  </a:lnTo>
                  <a:lnTo>
                    <a:pt x="163777" y="99739"/>
                  </a:lnTo>
                  <a:cubicBezTo>
                    <a:pt x="209835" y="39648"/>
                    <a:pt x="278924" y="0"/>
                    <a:pt x="364667" y="0"/>
                  </a:cubicBezTo>
                  <a:cubicBezTo>
                    <a:pt x="385126" y="0"/>
                    <a:pt x="401780" y="2567"/>
                    <a:pt x="418434" y="5134"/>
                  </a:cubicBezTo>
                  <a:lnTo>
                    <a:pt x="418434" y="172571"/>
                  </a:lnTo>
                  <a:cubicBezTo>
                    <a:pt x="399211" y="167436"/>
                    <a:pt x="371138" y="163633"/>
                    <a:pt x="340400" y="163633"/>
                  </a:cubicBezTo>
                  <a:cubicBezTo>
                    <a:pt x="238004" y="163633"/>
                    <a:pt x="175386" y="221157"/>
                    <a:pt x="175386" y="314525"/>
                  </a:cubicBezTo>
                  <a:lnTo>
                    <a:pt x="175386" y="651965"/>
                  </a:ln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" name="Forme libre 52">
              <a:extLst>
                <a:ext uri="{FF2B5EF4-FFF2-40B4-BE49-F238E27FC236}">
                  <a16:creationId xmlns:a16="http://schemas.microsoft.com/office/drawing/2014/main" id="{17416CAF-A215-EE42-909C-EA47D97A349F}"/>
                </a:ext>
              </a:extLst>
            </p:cNvPr>
            <p:cNvSpPr/>
            <p:nvPr/>
          </p:nvSpPr>
          <p:spPr>
            <a:xfrm>
              <a:off x="11266967" y="721617"/>
              <a:ext cx="269158" cy="276355"/>
            </a:xfrm>
            <a:custGeom>
              <a:avLst/>
              <a:gdLst>
                <a:gd name="connsiteX0" fmla="*/ 336498 w 647397"/>
                <a:gd name="connsiteY0" fmla="*/ 664706 h 664705"/>
                <a:gd name="connsiteX1" fmla="*/ 0 w 647397"/>
                <a:gd name="connsiteY1" fmla="*/ 332305 h 664705"/>
                <a:gd name="connsiteX2" fmla="*/ 328790 w 647397"/>
                <a:gd name="connsiteY2" fmla="*/ 0 h 664705"/>
                <a:gd name="connsiteX3" fmla="*/ 647398 w 647397"/>
                <a:gd name="connsiteY3" fmla="*/ 329833 h 664705"/>
                <a:gd name="connsiteX4" fmla="*/ 644828 w 647397"/>
                <a:gd name="connsiteY4" fmla="*/ 380986 h 664705"/>
                <a:gd name="connsiteX5" fmla="*/ 172722 w 647397"/>
                <a:gd name="connsiteY5" fmla="*/ 380986 h 664705"/>
                <a:gd name="connsiteX6" fmla="*/ 336498 w 647397"/>
                <a:gd name="connsiteY6" fmla="*/ 517807 h 664705"/>
                <a:gd name="connsiteX7" fmla="*/ 468300 w 647397"/>
                <a:gd name="connsiteY7" fmla="*/ 437274 h 664705"/>
                <a:gd name="connsiteX8" fmla="*/ 642258 w 647397"/>
                <a:gd name="connsiteY8" fmla="*/ 437274 h 664705"/>
                <a:gd name="connsiteX9" fmla="*/ 336498 w 647397"/>
                <a:gd name="connsiteY9" fmla="*/ 664706 h 664705"/>
                <a:gd name="connsiteX10" fmla="*/ 175291 w 647397"/>
                <a:gd name="connsiteY10" fmla="*/ 263372 h 664705"/>
                <a:gd name="connsiteX11" fmla="*/ 474676 w 647397"/>
                <a:gd name="connsiteY11" fmla="*/ 263372 h 664705"/>
                <a:gd name="connsiteX12" fmla="*/ 323746 w 647397"/>
                <a:gd name="connsiteY12" fmla="*/ 143191 h 664705"/>
                <a:gd name="connsiteX13" fmla="*/ 175291 w 647397"/>
                <a:gd name="connsiteY13" fmla="*/ 263372 h 66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7397" h="664705">
                  <a:moveTo>
                    <a:pt x="336498" y="664706"/>
                  </a:moveTo>
                  <a:cubicBezTo>
                    <a:pt x="142079" y="664706"/>
                    <a:pt x="0" y="531784"/>
                    <a:pt x="0" y="332305"/>
                  </a:cubicBezTo>
                  <a:cubicBezTo>
                    <a:pt x="0" y="132922"/>
                    <a:pt x="136845" y="0"/>
                    <a:pt x="328790" y="0"/>
                  </a:cubicBezTo>
                  <a:cubicBezTo>
                    <a:pt x="514263" y="0"/>
                    <a:pt x="647398" y="126552"/>
                    <a:pt x="647398" y="329833"/>
                  </a:cubicBezTo>
                  <a:cubicBezTo>
                    <a:pt x="647398" y="345141"/>
                    <a:pt x="646160" y="364347"/>
                    <a:pt x="644828" y="380986"/>
                  </a:cubicBezTo>
                  <a:lnTo>
                    <a:pt x="172722" y="380986"/>
                  </a:lnTo>
                  <a:cubicBezTo>
                    <a:pt x="188043" y="476827"/>
                    <a:pt x="253325" y="517807"/>
                    <a:pt x="336498" y="517807"/>
                  </a:cubicBezTo>
                  <a:cubicBezTo>
                    <a:pt x="411963" y="517807"/>
                    <a:pt x="454215" y="483293"/>
                    <a:pt x="468300" y="437274"/>
                  </a:cubicBezTo>
                  <a:lnTo>
                    <a:pt x="642258" y="437274"/>
                  </a:lnTo>
                  <a:cubicBezTo>
                    <a:pt x="620561" y="572668"/>
                    <a:pt x="499037" y="664706"/>
                    <a:pt x="336498" y="664706"/>
                  </a:cubicBezTo>
                  <a:close/>
                  <a:moveTo>
                    <a:pt x="175291" y="263372"/>
                  </a:moveTo>
                  <a:lnTo>
                    <a:pt x="474676" y="263372"/>
                  </a:lnTo>
                  <a:cubicBezTo>
                    <a:pt x="461923" y="180272"/>
                    <a:pt x="395309" y="143191"/>
                    <a:pt x="323746" y="143191"/>
                  </a:cubicBezTo>
                  <a:cubicBezTo>
                    <a:pt x="255895" y="143191"/>
                    <a:pt x="195751" y="172571"/>
                    <a:pt x="175291" y="263372"/>
                  </a:cubicBezTo>
                  <a:close/>
                </a:path>
              </a:pathLst>
            </a:custGeom>
            <a:solidFill>
              <a:schemeClr val="bg1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" name="Forme libre 53">
              <a:extLst>
                <a:ext uri="{FF2B5EF4-FFF2-40B4-BE49-F238E27FC236}">
                  <a16:creationId xmlns:a16="http://schemas.microsoft.com/office/drawing/2014/main" id="{B0ED2035-34C4-7942-86E9-29F148247702}"/>
                </a:ext>
              </a:extLst>
            </p:cNvPr>
            <p:cNvSpPr/>
            <p:nvPr/>
          </p:nvSpPr>
          <p:spPr>
            <a:xfrm>
              <a:off x="9333441" y="1104267"/>
              <a:ext cx="243639" cy="340116"/>
            </a:xfrm>
            <a:custGeom>
              <a:avLst/>
              <a:gdLst>
                <a:gd name="connsiteX0" fmla="*/ 586017 w 586016"/>
                <a:gd name="connsiteY0" fmla="*/ 0 h 818070"/>
                <a:gd name="connsiteX1" fmla="*/ 586017 w 586016"/>
                <a:gd name="connsiteY1" fmla="*/ 164869 h 818070"/>
                <a:gd name="connsiteX2" fmla="*/ 179193 w 586016"/>
                <a:gd name="connsiteY2" fmla="*/ 164869 h 818070"/>
                <a:gd name="connsiteX3" fmla="*/ 179193 w 586016"/>
                <a:gd name="connsiteY3" fmla="*/ 369387 h 818070"/>
                <a:gd name="connsiteX4" fmla="*/ 547666 w 586016"/>
                <a:gd name="connsiteY4" fmla="*/ 369387 h 818070"/>
                <a:gd name="connsiteX5" fmla="*/ 547666 w 586016"/>
                <a:gd name="connsiteY5" fmla="*/ 526649 h 818070"/>
                <a:gd name="connsiteX6" fmla="*/ 179193 w 586016"/>
                <a:gd name="connsiteY6" fmla="*/ 526649 h 818070"/>
                <a:gd name="connsiteX7" fmla="*/ 179193 w 586016"/>
                <a:gd name="connsiteY7" fmla="*/ 818070 h 818070"/>
                <a:gd name="connsiteX8" fmla="*/ 0 w 586016"/>
                <a:gd name="connsiteY8" fmla="*/ 818070 h 818070"/>
                <a:gd name="connsiteX9" fmla="*/ 0 w 586016"/>
                <a:gd name="connsiteY9" fmla="*/ 0 h 818070"/>
                <a:gd name="connsiteX10" fmla="*/ 586017 w 586016"/>
                <a:gd name="connsiteY10" fmla="*/ 0 h 81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6016" h="818070">
                  <a:moveTo>
                    <a:pt x="586017" y="0"/>
                  </a:moveTo>
                  <a:lnTo>
                    <a:pt x="586017" y="164869"/>
                  </a:lnTo>
                  <a:lnTo>
                    <a:pt x="179193" y="164869"/>
                  </a:lnTo>
                  <a:lnTo>
                    <a:pt x="179193" y="369387"/>
                  </a:lnTo>
                  <a:lnTo>
                    <a:pt x="547666" y="369387"/>
                  </a:lnTo>
                  <a:lnTo>
                    <a:pt x="547666" y="526649"/>
                  </a:lnTo>
                  <a:lnTo>
                    <a:pt x="179193" y="526649"/>
                  </a:lnTo>
                  <a:lnTo>
                    <a:pt x="179193" y="818070"/>
                  </a:lnTo>
                  <a:lnTo>
                    <a:pt x="0" y="818070"/>
                  </a:lnTo>
                  <a:lnTo>
                    <a:pt x="0" y="0"/>
                  </a:lnTo>
                  <a:lnTo>
                    <a:pt x="586017" y="0"/>
                  </a:ln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" name="Forme libre 54">
              <a:extLst>
                <a:ext uri="{FF2B5EF4-FFF2-40B4-BE49-F238E27FC236}">
                  <a16:creationId xmlns:a16="http://schemas.microsoft.com/office/drawing/2014/main" id="{75A64CDF-870A-E94D-AF57-DF8C30615577}"/>
                </a:ext>
              </a:extLst>
            </p:cNvPr>
            <p:cNvSpPr/>
            <p:nvPr/>
          </p:nvSpPr>
          <p:spPr>
            <a:xfrm>
              <a:off x="9592709" y="1173365"/>
              <a:ext cx="278179" cy="276355"/>
            </a:xfrm>
            <a:custGeom>
              <a:avLst/>
              <a:gdLst>
                <a:gd name="connsiteX0" fmla="*/ 545001 w 669094"/>
                <a:gd name="connsiteY0" fmla="*/ 651965 h 664705"/>
                <a:gd name="connsiteX1" fmla="*/ 511789 w 669094"/>
                <a:gd name="connsiteY1" fmla="*/ 586740 h 664705"/>
                <a:gd name="connsiteX2" fmla="*/ 316038 w 669094"/>
                <a:gd name="connsiteY2" fmla="*/ 664706 h 664705"/>
                <a:gd name="connsiteX3" fmla="*/ 0 w 669094"/>
                <a:gd name="connsiteY3" fmla="*/ 332305 h 664705"/>
                <a:gd name="connsiteX4" fmla="*/ 316038 w 669094"/>
                <a:gd name="connsiteY4" fmla="*/ 0 h 664705"/>
                <a:gd name="connsiteX5" fmla="*/ 511789 w 669094"/>
                <a:gd name="connsiteY5" fmla="*/ 77966 h 664705"/>
                <a:gd name="connsiteX6" fmla="*/ 545001 w 669094"/>
                <a:gd name="connsiteY6" fmla="*/ 12741 h 664705"/>
                <a:gd name="connsiteX7" fmla="*/ 669095 w 669094"/>
                <a:gd name="connsiteY7" fmla="*/ 12741 h 664705"/>
                <a:gd name="connsiteX8" fmla="*/ 669095 w 669094"/>
                <a:gd name="connsiteY8" fmla="*/ 651870 h 664705"/>
                <a:gd name="connsiteX9" fmla="*/ 545001 w 669094"/>
                <a:gd name="connsiteY9" fmla="*/ 651870 h 664705"/>
                <a:gd name="connsiteX10" fmla="*/ 341637 w 669094"/>
                <a:gd name="connsiteY10" fmla="*/ 154696 h 664705"/>
                <a:gd name="connsiteX11" fmla="*/ 176624 w 669094"/>
                <a:gd name="connsiteY11" fmla="*/ 332401 h 664705"/>
                <a:gd name="connsiteX12" fmla="*/ 341637 w 669094"/>
                <a:gd name="connsiteY12" fmla="*/ 508774 h 664705"/>
                <a:gd name="connsiteX13" fmla="*/ 506650 w 669094"/>
                <a:gd name="connsiteY13" fmla="*/ 332401 h 664705"/>
                <a:gd name="connsiteX14" fmla="*/ 341637 w 669094"/>
                <a:gd name="connsiteY14" fmla="*/ 154696 h 66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69094" h="664705">
                  <a:moveTo>
                    <a:pt x="545001" y="651965"/>
                  </a:moveTo>
                  <a:lnTo>
                    <a:pt x="511789" y="586740"/>
                  </a:lnTo>
                  <a:cubicBezTo>
                    <a:pt x="461924" y="636562"/>
                    <a:pt x="394072" y="664706"/>
                    <a:pt x="316038" y="664706"/>
                  </a:cubicBezTo>
                  <a:cubicBezTo>
                    <a:pt x="147123" y="664706"/>
                    <a:pt x="0" y="531784"/>
                    <a:pt x="0" y="332305"/>
                  </a:cubicBezTo>
                  <a:cubicBezTo>
                    <a:pt x="0" y="132922"/>
                    <a:pt x="147123" y="0"/>
                    <a:pt x="316038" y="0"/>
                  </a:cubicBezTo>
                  <a:cubicBezTo>
                    <a:pt x="394072" y="0"/>
                    <a:pt x="461924" y="28144"/>
                    <a:pt x="511789" y="77966"/>
                  </a:cubicBezTo>
                  <a:lnTo>
                    <a:pt x="545001" y="12741"/>
                  </a:lnTo>
                  <a:lnTo>
                    <a:pt x="669095" y="12741"/>
                  </a:lnTo>
                  <a:lnTo>
                    <a:pt x="669095" y="651870"/>
                  </a:lnTo>
                  <a:lnTo>
                    <a:pt x="545001" y="651870"/>
                  </a:lnTo>
                  <a:close/>
                  <a:moveTo>
                    <a:pt x="341637" y="154696"/>
                  </a:moveTo>
                  <a:cubicBezTo>
                    <a:pt x="246949" y="154696"/>
                    <a:pt x="176624" y="223724"/>
                    <a:pt x="176624" y="332401"/>
                  </a:cubicBezTo>
                  <a:cubicBezTo>
                    <a:pt x="176624" y="441077"/>
                    <a:pt x="246949" y="508774"/>
                    <a:pt x="341637" y="508774"/>
                  </a:cubicBezTo>
                  <a:cubicBezTo>
                    <a:pt x="434992" y="508774"/>
                    <a:pt x="506650" y="441077"/>
                    <a:pt x="506650" y="332401"/>
                  </a:cubicBezTo>
                  <a:cubicBezTo>
                    <a:pt x="506650" y="223724"/>
                    <a:pt x="434992" y="154696"/>
                    <a:pt x="341637" y="154696"/>
                  </a:cubicBez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" name="Forme libre 55">
              <a:extLst>
                <a:ext uri="{FF2B5EF4-FFF2-40B4-BE49-F238E27FC236}">
                  <a16:creationId xmlns:a16="http://schemas.microsoft.com/office/drawing/2014/main" id="{F5285F7D-B75E-4245-B588-CE7F16A5E2C2}"/>
                </a:ext>
              </a:extLst>
            </p:cNvPr>
            <p:cNvSpPr/>
            <p:nvPr/>
          </p:nvSpPr>
          <p:spPr>
            <a:xfrm>
              <a:off x="9912509" y="1173365"/>
              <a:ext cx="276082" cy="276355"/>
            </a:xfrm>
            <a:custGeom>
              <a:avLst/>
              <a:gdLst>
                <a:gd name="connsiteX0" fmla="*/ 333929 w 664050"/>
                <a:gd name="connsiteY0" fmla="*/ 664706 h 664705"/>
                <a:gd name="connsiteX1" fmla="*/ 0 w 664050"/>
                <a:gd name="connsiteY1" fmla="*/ 332305 h 664705"/>
                <a:gd name="connsiteX2" fmla="*/ 333929 w 664050"/>
                <a:gd name="connsiteY2" fmla="*/ 0 h 664705"/>
                <a:gd name="connsiteX3" fmla="*/ 664051 w 664050"/>
                <a:gd name="connsiteY3" fmla="*/ 281247 h 664705"/>
                <a:gd name="connsiteX4" fmla="*/ 484953 w 664050"/>
                <a:gd name="connsiteY4" fmla="*/ 281247 h 664705"/>
                <a:gd name="connsiteX5" fmla="*/ 334024 w 664050"/>
                <a:gd name="connsiteY5" fmla="*/ 154696 h 664705"/>
                <a:gd name="connsiteX6" fmla="*/ 176623 w 664050"/>
                <a:gd name="connsiteY6" fmla="*/ 332401 h 664705"/>
                <a:gd name="connsiteX7" fmla="*/ 334024 w 664050"/>
                <a:gd name="connsiteY7" fmla="*/ 508774 h 664705"/>
                <a:gd name="connsiteX8" fmla="*/ 484953 w 664050"/>
                <a:gd name="connsiteY8" fmla="*/ 383554 h 664705"/>
                <a:gd name="connsiteX9" fmla="*/ 664051 w 664050"/>
                <a:gd name="connsiteY9" fmla="*/ 383554 h 664705"/>
                <a:gd name="connsiteX10" fmla="*/ 333929 w 664050"/>
                <a:gd name="connsiteY10" fmla="*/ 664706 h 66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4050" h="664705">
                  <a:moveTo>
                    <a:pt x="333929" y="664706"/>
                  </a:moveTo>
                  <a:cubicBezTo>
                    <a:pt x="143316" y="664706"/>
                    <a:pt x="0" y="531784"/>
                    <a:pt x="0" y="332305"/>
                  </a:cubicBezTo>
                  <a:cubicBezTo>
                    <a:pt x="0" y="132922"/>
                    <a:pt x="143316" y="0"/>
                    <a:pt x="333929" y="0"/>
                  </a:cubicBezTo>
                  <a:cubicBezTo>
                    <a:pt x="510457" y="0"/>
                    <a:pt x="642258" y="109913"/>
                    <a:pt x="664051" y="281247"/>
                  </a:cubicBezTo>
                  <a:lnTo>
                    <a:pt x="484953" y="281247"/>
                  </a:lnTo>
                  <a:cubicBezTo>
                    <a:pt x="465730" y="200714"/>
                    <a:pt x="408156" y="154696"/>
                    <a:pt x="334024" y="154696"/>
                  </a:cubicBezTo>
                  <a:cubicBezTo>
                    <a:pt x="244475" y="154696"/>
                    <a:pt x="176623" y="222393"/>
                    <a:pt x="176623" y="332401"/>
                  </a:cubicBezTo>
                  <a:cubicBezTo>
                    <a:pt x="176623" y="442313"/>
                    <a:pt x="244475" y="508774"/>
                    <a:pt x="334024" y="508774"/>
                  </a:cubicBezTo>
                  <a:cubicBezTo>
                    <a:pt x="408251" y="508774"/>
                    <a:pt x="465825" y="464087"/>
                    <a:pt x="484953" y="383554"/>
                  </a:cubicBezTo>
                  <a:lnTo>
                    <a:pt x="664051" y="383554"/>
                  </a:lnTo>
                  <a:cubicBezTo>
                    <a:pt x="642258" y="554793"/>
                    <a:pt x="510457" y="664706"/>
                    <a:pt x="333929" y="664706"/>
                  </a:cubicBez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" name="Forme libre 56">
              <a:extLst>
                <a:ext uri="{FF2B5EF4-FFF2-40B4-BE49-F238E27FC236}">
                  <a16:creationId xmlns:a16="http://schemas.microsoft.com/office/drawing/2014/main" id="{1CAD93B0-EB7D-CB42-AADE-3A4070F06DF1}"/>
                </a:ext>
              </a:extLst>
            </p:cNvPr>
            <p:cNvSpPr/>
            <p:nvPr/>
          </p:nvSpPr>
          <p:spPr>
            <a:xfrm>
              <a:off x="10224161" y="1114901"/>
              <a:ext cx="154816" cy="329482"/>
            </a:xfrm>
            <a:custGeom>
              <a:avLst/>
              <a:gdLst>
                <a:gd name="connsiteX0" fmla="*/ 95 w 372374"/>
                <a:gd name="connsiteY0" fmla="*/ 0 h 792493"/>
                <a:gd name="connsiteX1" fmla="*/ 175387 w 372374"/>
                <a:gd name="connsiteY1" fmla="*/ 0 h 792493"/>
                <a:gd name="connsiteX2" fmla="*/ 175387 w 372374"/>
                <a:gd name="connsiteY2" fmla="*/ 153364 h 792493"/>
                <a:gd name="connsiteX3" fmla="*/ 359623 w 372374"/>
                <a:gd name="connsiteY3" fmla="*/ 153364 h 792493"/>
                <a:gd name="connsiteX4" fmla="*/ 359623 w 372374"/>
                <a:gd name="connsiteY4" fmla="*/ 299122 h 792493"/>
                <a:gd name="connsiteX5" fmla="*/ 175387 w 372374"/>
                <a:gd name="connsiteY5" fmla="*/ 299122 h 792493"/>
                <a:gd name="connsiteX6" fmla="*/ 175387 w 372374"/>
                <a:gd name="connsiteY6" fmla="*/ 540721 h 792493"/>
                <a:gd name="connsiteX7" fmla="*/ 271311 w 372374"/>
                <a:gd name="connsiteY7" fmla="*/ 631428 h 792493"/>
                <a:gd name="connsiteX8" fmla="*/ 372375 w 372374"/>
                <a:gd name="connsiteY8" fmla="*/ 631428 h 792493"/>
                <a:gd name="connsiteX9" fmla="*/ 372375 w 372374"/>
                <a:gd name="connsiteY9" fmla="*/ 792494 h 792493"/>
                <a:gd name="connsiteX10" fmla="*/ 261034 w 372374"/>
                <a:gd name="connsiteY10" fmla="*/ 792494 h 792493"/>
                <a:gd name="connsiteX11" fmla="*/ 0 w 372374"/>
                <a:gd name="connsiteY11" fmla="*/ 554698 h 792493"/>
                <a:gd name="connsiteX12" fmla="*/ 0 w 372374"/>
                <a:gd name="connsiteY12" fmla="*/ 0 h 792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2374" h="792493">
                  <a:moveTo>
                    <a:pt x="95" y="0"/>
                  </a:moveTo>
                  <a:lnTo>
                    <a:pt x="175387" y="0"/>
                  </a:lnTo>
                  <a:lnTo>
                    <a:pt x="175387" y="153364"/>
                  </a:lnTo>
                  <a:lnTo>
                    <a:pt x="359623" y="153364"/>
                  </a:lnTo>
                  <a:lnTo>
                    <a:pt x="359623" y="299122"/>
                  </a:lnTo>
                  <a:lnTo>
                    <a:pt x="175387" y="299122"/>
                  </a:lnTo>
                  <a:lnTo>
                    <a:pt x="175387" y="540721"/>
                  </a:lnTo>
                  <a:cubicBezTo>
                    <a:pt x="175387" y="603379"/>
                    <a:pt x="202222" y="631428"/>
                    <a:pt x="271311" y="631428"/>
                  </a:cubicBezTo>
                  <a:lnTo>
                    <a:pt x="372375" y="631428"/>
                  </a:lnTo>
                  <a:lnTo>
                    <a:pt x="372375" y="792494"/>
                  </a:lnTo>
                  <a:lnTo>
                    <a:pt x="261034" y="792494"/>
                  </a:lnTo>
                  <a:cubicBezTo>
                    <a:pt x="75560" y="792494"/>
                    <a:pt x="0" y="719662"/>
                    <a:pt x="0" y="55469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" name="Forme libre 57">
              <a:extLst>
                <a:ext uri="{FF2B5EF4-FFF2-40B4-BE49-F238E27FC236}">
                  <a16:creationId xmlns:a16="http://schemas.microsoft.com/office/drawing/2014/main" id="{99883D6A-9E9B-484D-B0C4-7CDC5D2FD220}"/>
                </a:ext>
              </a:extLst>
            </p:cNvPr>
            <p:cNvSpPr/>
            <p:nvPr/>
          </p:nvSpPr>
          <p:spPr>
            <a:xfrm>
              <a:off x="10398522" y="1173365"/>
              <a:ext cx="285618" cy="276355"/>
            </a:xfrm>
            <a:custGeom>
              <a:avLst/>
              <a:gdLst>
                <a:gd name="connsiteX0" fmla="*/ 342874 w 686985"/>
                <a:gd name="connsiteY0" fmla="*/ 664706 h 664705"/>
                <a:gd name="connsiteX1" fmla="*/ 0 w 686985"/>
                <a:gd name="connsiteY1" fmla="*/ 332305 h 664705"/>
                <a:gd name="connsiteX2" fmla="*/ 342874 w 686985"/>
                <a:gd name="connsiteY2" fmla="*/ 0 h 664705"/>
                <a:gd name="connsiteX3" fmla="*/ 686985 w 686985"/>
                <a:gd name="connsiteY3" fmla="*/ 332305 h 664705"/>
                <a:gd name="connsiteX4" fmla="*/ 342874 w 686985"/>
                <a:gd name="connsiteY4" fmla="*/ 664706 h 664705"/>
                <a:gd name="connsiteX5" fmla="*/ 342874 w 686985"/>
                <a:gd name="connsiteY5" fmla="*/ 154696 h 664705"/>
                <a:gd name="connsiteX6" fmla="*/ 176528 w 686985"/>
                <a:gd name="connsiteY6" fmla="*/ 332401 h 664705"/>
                <a:gd name="connsiteX7" fmla="*/ 342874 w 686985"/>
                <a:gd name="connsiteY7" fmla="*/ 508774 h 664705"/>
                <a:gd name="connsiteX8" fmla="*/ 510457 w 686985"/>
                <a:gd name="connsiteY8" fmla="*/ 332401 h 664705"/>
                <a:gd name="connsiteX9" fmla="*/ 342874 w 686985"/>
                <a:gd name="connsiteY9" fmla="*/ 154696 h 66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6985" h="664705">
                  <a:moveTo>
                    <a:pt x="342874" y="664706"/>
                  </a:moveTo>
                  <a:cubicBezTo>
                    <a:pt x="145886" y="664706"/>
                    <a:pt x="0" y="531784"/>
                    <a:pt x="0" y="332305"/>
                  </a:cubicBezTo>
                  <a:cubicBezTo>
                    <a:pt x="0" y="132922"/>
                    <a:pt x="145886" y="0"/>
                    <a:pt x="342874" y="0"/>
                  </a:cubicBezTo>
                  <a:cubicBezTo>
                    <a:pt x="539863" y="0"/>
                    <a:pt x="686985" y="132922"/>
                    <a:pt x="686985" y="332305"/>
                  </a:cubicBezTo>
                  <a:cubicBezTo>
                    <a:pt x="686985" y="531784"/>
                    <a:pt x="539863" y="664706"/>
                    <a:pt x="342874" y="664706"/>
                  </a:cubicBezTo>
                  <a:close/>
                  <a:moveTo>
                    <a:pt x="342874" y="154696"/>
                  </a:moveTo>
                  <a:cubicBezTo>
                    <a:pt x="246949" y="154696"/>
                    <a:pt x="176528" y="223724"/>
                    <a:pt x="176528" y="332401"/>
                  </a:cubicBezTo>
                  <a:cubicBezTo>
                    <a:pt x="176528" y="441077"/>
                    <a:pt x="246854" y="508774"/>
                    <a:pt x="342874" y="508774"/>
                  </a:cubicBezTo>
                  <a:cubicBezTo>
                    <a:pt x="438799" y="508774"/>
                    <a:pt x="510457" y="441077"/>
                    <a:pt x="510457" y="332401"/>
                  </a:cubicBezTo>
                  <a:cubicBezTo>
                    <a:pt x="510457" y="223724"/>
                    <a:pt x="438799" y="154696"/>
                    <a:pt x="342874" y="154696"/>
                  </a:cubicBez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" name="Forme libre 58">
              <a:extLst>
                <a:ext uri="{FF2B5EF4-FFF2-40B4-BE49-F238E27FC236}">
                  <a16:creationId xmlns:a16="http://schemas.microsoft.com/office/drawing/2014/main" id="{D2A82F18-618B-BD49-A6EA-65AD8629A4E7}"/>
                </a:ext>
              </a:extLst>
            </p:cNvPr>
            <p:cNvSpPr/>
            <p:nvPr/>
          </p:nvSpPr>
          <p:spPr>
            <a:xfrm>
              <a:off x="10725128" y="1173365"/>
              <a:ext cx="173965" cy="271057"/>
            </a:xfrm>
            <a:custGeom>
              <a:avLst/>
              <a:gdLst>
                <a:gd name="connsiteX0" fmla="*/ 175291 w 418433"/>
                <a:gd name="connsiteY0" fmla="*/ 651965 h 651964"/>
                <a:gd name="connsiteX1" fmla="*/ 0 w 418433"/>
                <a:gd name="connsiteY1" fmla="*/ 651965 h 651964"/>
                <a:gd name="connsiteX2" fmla="*/ 0 w 418433"/>
                <a:gd name="connsiteY2" fmla="*/ 12836 h 651964"/>
                <a:gd name="connsiteX3" fmla="*/ 120287 w 418433"/>
                <a:gd name="connsiteY3" fmla="*/ 12836 h 651964"/>
                <a:gd name="connsiteX4" fmla="*/ 163776 w 418433"/>
                <a:gd name="connsiteY4" fmla="*/ 99739 h 651964"/>
                <a:gd name="connsiteX5" fmla="*/ 364666 w 418433"/>
                <a:gd name="connsiteY5" fmla="*/ 0 h 651964"/>
                <a:gd name="connsiteX6" fmla="*/ 418434 w 418433"/>
                <a:gd name="connsiteY6" fmla="*/ 5134 h 651964"/>
                <a:gd name="connsiteX7" fmla="*/ 418434 w 418433"/>
                <a:gd name="connsiteY7" fmla="*/ 172571 h 651964"/>
                <a:gd name="connsiteX8" fmla="*/ 340400 w 418433"/>
                <a:gd name="connsiteY8" fmla="*/ 163633 h 651964"/>
                <a:gd name="connsiteX9" fmla="*/ 175386 w 418433"/>
                <a:gd name="connsiteY9" fmla="*/ 314525 h 651964"/>
                <a:gd name="connsiteX10" fmla="*/ 175386 w 418433"/>
                <a:gd name="connsiteY10" fmla="*/ 651965 h 6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8433" h="651964">
                  <a:moveTo>
                    <a:pt x="175291" y="651965"/>
                  </a:moveTo>
                  <a:lnTo>
                    <a:pt x="0" y="651965"/>
                  </a:lnTo>
                  <a:lnTo>
                    <a:pt x="0" y="12836"/>
                  </a:lnTo>
                  <a:lnTo>
                    <a:pt x="120287" y="12836"/>
                  </a:lnTo>
                  <a:lnTo>
                    <a:pt x="163776" y="99739"/>
                  </a:lnTo>
                  <a:cubicBezTo>
                    <a:pt x="209835" y="39648"/>
                    <a:pt x="278924" y="0"/>
                    <a:pt x="364666" y="0"/>
                  </a:cubicBezTo>
                  <a:cubicBezTo>
                    <a:pt x="385127" y="0"/>
                    <a:pt x="401780" y="2567"/>
                    <a:pt x="418434" y="5134"/>
                  </a:cubicBezTo>
                  <a:lnTo>
                    <a:pt x="418434" y="172571"/>
                  </a:lnTo>
                  <a:cubicBezTo>
                    <a:pt x="399211" y="167436"/>
                    <a:pt x="371138" y="163633"/>
                    <a:pt x="340400" y="163633"/>
                  </a:cubicBezTo>
                  <a:cubicBezTo>
                    <a:pt x="238004" y="163633"/>
                    <a:pt x="175386" y="221157"/>
                    <a:pt x="175386" y="314525"/>
                  </a:cubicBezTo>
                  <a:lnTo>
                    <a:pt x="175386" y="651965"/>
                  </a:ln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" name="Forme libre 59">
              <a:extLst>
                <a:ext uri="{FF2B5EF4-FFF2-40B4-BE49-F238E27FC236}">
                  <a16:creationId xmlns:a16="http://schemas.microsoft.com/office/drawing/2014/main" id="{94D294ED-C5B7-4847-B7AB-7BFF03811DEC}"/>
                </a:ext>
              </a:extLst>
            </p:cNvPr>
            <p:cNvSpPr/>
            <p:nvPr/>
          </p:nvSpPr>
          <p:spPr>
            <a:xfrm>
              <a:off x="10913022" y="1178702"/>
              <a:ext cx="292026" cy="372017"/>
            </a:xfrm>
            <a:custGeom>
              <a:avLst/>
              <a:gdLst>
                <a:gd name="connsiteX0" fmla="*/ 298147 w 702401"/>
                <a:gd name="connsiteY0" fmla="*/ 639129 h 894799"/>
                <a:gd name="connsiteX1" fmla="*/ 244380 w 702401"/>
                <a:gd name="connsiteY1" fmla="*/ 639129 h 894799"/>
                <a:gd name="connsiteX2" fmla="*/ 0 w 702401"/>
                <a:gd name="connsiteY2" fmla="*/ 0 h 894799"/>
                <a:gd name="connsiteX3" fmla="*/ 181667 w 702401"/>
                <a:gd name="connsiteY3" fmla="*/ 0 h 894799"/>
                <a:gd name="connsiteX4" fmla="*/ 356958 w 702401"/>
                <a:gd name="connsiteY4" fmla="*/ 475496 h 894799"/>
                <a:gd name="connsiteX5" fmla="*/ 527110 w 702401"/>
                <a:gd name="connsiteY5" fmla="*/ 0 h 894799"/>
                <a:gd name="connsiteX6" fmla="*/ 702402 w 702401"/>
                <a:gd name="connsiteY6" fmla="*/ 0 h 894799"/>
                <a:gd name="connsiteX7" fmla="*/ 450409 w 702401"/>
                <a:gd name="connsiteY7" fmla="*/ 690282 h 894799"/>
                <a:gd name="connsiteX8" fmla="*/ 181762 w 702401"/>
                <a:gd name="connsiteY8" fmla="*/ 894800 h 894799"/>
                <a:gd name="connsiteX9" fmla="*/ 80699 w 702401"/>
                <a:gd name="connsiteY9" fmla="*/ 882059 h 894799"/>
                <a:gd name="connsiteX10" fmla="*/ 80699 w 702401"/>
                <a:gd name="connsiteY10" fmla="*/ 727364 h 894799"/>
                <a:gd name="connsiteX11" fmla="*/ 174054 w 702401"/>
                <a:gd name="connsiteY11" fmla="*/ 740104 h 894799"/>
                <a:gd name="connsiteX12" fmla="*/ 296910 w 702401"/>
                <a:gd name="connsiteY12" fmla="*/ 644264 h 894799"/>
                <a:gd name="connsiteX13" fmla="*/ 298147 w 702401"/>
                <a:gd name="connsiteY13" fmla="*/ 639129 h 89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2401" h="894799">
                  <a:moveTo>
                    <a:pt x="298147" y="639129"/>
                  </a:moveTo>
                  <a:lnTo>
                    <a:pt x="244380" y="639129"/>
                  </a:lnTo>
                  <a:lnTo>
                    <a:pt x="0" y="0"/>
                  </a:lnTo>
                  <a:lnTo>
                    <a:pt x="181667" y="0"/>
                  </a:lnTo>
                  <a:lnTo>
                    <a:pt x="356958" y="475496"/>
                  </a:lnTo>
                  <a:lnTo>
                    <a:pt x="527110" y="0"/>
                  </a:lnTo>
                  <a:lnTo>
                    <a:pt x="702402" y="0"/>
                  </a:lnTo>
                  <a:lnTo>
                    <a:pt x="450409" y="690282"/>
                  </a:lnTo>
                  <a:cubicBezTo>
                    <a:pt x="395404" y="859050"/>
                    <a:pt x="307092" y="894800"/>
                    <a:pt x="181762" y="894800"/>
                  </a:cubicBezTo>
                  <a:cubicBezTo>
                    <a:pt x="148455" y="894800"/>
                    <a:pt x="113911" y="889666"/>
                    <a:pt x="80699" y="882059"/>
                  </a:cubicBezTo>
                  <a:lnTo>
                    <a:pt x="80699" y="727364"/>
                  </a:lnTo>
                  <a:cubicBezTo>
                    <a:pt x="112674" y="735065"/>
                    <a:pt x="142079" y="740104"/>
                    <a:pt x="174054" y="740104"/>
                  </a:cubicBezTo>
                  <a:cubicBezTo>
                    <a:pt x="241906" y="740104"/>
                    <a:pt x="268742" y="722229"/>
                    <a:pt x="296910" y="644264"/>
                  </a:cubicBezTo>
                  <a:lnTo>
                    <a:pt x="298147" y="639129"/>
                  </a:lnTo>
                  <a:close/>
                </a:path>
              </a:pathLst>
            </a:custGeom>
            <a:solidFill>
              <a:srgbClr val="66D8D0"/>
            </a:solidFill>
            <a:ln w="95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32708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31045CF-7F3F-084D-B94E-83312076E2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1"/>
              <a:t>Avant-projets</a:t>
            </a:r>
          </a:p>
        </p:txBody>
      </p:sp>
      <p:sp>
        <p:nvSpPr>
          <p:cNvPr id="4" name="Espace réservé du texte 5">
            <a:extLst>
              <a:ext uri="{FF2B5EF4-FFF2-40B4-BE49-F238E27FC236}">
                <a16:creationId xmlns:a16="http://schemas.microsoft.com/office/drawing/2014/main" id="{7A7ACEE7-A439-B343-AD04-A1F3A355E0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5775" y="268075"/>
            <a:ext cx="9359900" cy="298450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1" i="0">
                <a:latin typeface="+mj-lt"/>
              </a:defRPr>
            </a:lvl1pPr>
          </a:lstStyle>
          <a:p>
            <a:pPr lvl="0"/>
            <a:r>
              <a:rPr lang="en-GB" noProof="1"/>
              <a:t>Title</a:t>
            </a:r>
          </a:p>
        </p:txBody>
      </p:sp>
      <p:sp>
        <p:nvSpPr>
          <p:cNvPr id="5" name="Espace réservé du texte 15">
            <a:extLst>
              <a:ext uri="{FF2B5EF4-FFF2-40B4-BE49-F238E27FC236}">
                <a16:creationId xmlns:a16="http://schemas.microsoft.com/office/drawing/2014/main" id="{46F97424-888C-4B44-94EA-03D67FB23C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22376" y="1734503"/>
            <a:ext cx="4625974" cy="6124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lang="da-DK" sz="19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Aft>
                <a:spcPts val="0"/>
              </a:spcAft>
              <a:buNone/>
              <a:defRPr lang="en-GB" sz="1200" b="0" kern="1200" cap="all" baseline="0" noProof="1">
                <a:solidFill>
                  <a:schemeClr val="tx1"/>
                </a:solidFill>
                <a:latin typeface="Renault Group Light" pitchFamily="2" charset="0"/>
                <a:ea typeface="+mn-ea"/>
                <a:cs typeface="+mn-cs"/>
              </a:defRPr>
            </a:lvl2pPr>
            <a:lvl5pPr>
              <a:defRPr/>
            </a:lvl5pPr>
          </a:lstStyle>
          <a:p>
            <a:pPr lvl="0"/>
            <a:r>
              <a:rPr lang="en-GB" noProof="1"/>
              <a:t>Chapter title</a:t>
            </a:r>
          </a:p>
          <a:p>
            <a:pPr marL="0" lvl="1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en-GB" noProof="1"/>
              <a:t>CHAPTER SUBTITLE</a:t>
            </a:r>
          </a:p>
        </p:txBody>
      </p:sp>
      <p:sp>
        <p:nvSpPr>
          <p:cNvPr id="6" name="Espace réservé du texte 15">
            <a:extLst>
              <a:ext uri="{FF2B5EF4-FFF2-40B4-BE49-F238E27FC236}">
                <a16:creationId xmlns:a16="http://schemas.microsoft.com/office/drawing/2014/main" id="{19B3A1B0-5A01-6B48-AAFA-667E78208B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5775" y="1734503"/>
            <a:ext cx="488950" cy="4154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lang="fr-FR" sz="30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>
              <a:defRPr b="1"/>
            </a:lvl2pPr>
            <a:lvl5pPr>
              <a:defRPr/>
            </a:lvl5pPr>
          </a:lstStyle>
          <a:p>
            <a:pPr lvl="0"/>
            <a:r>
              <a:rPr lang="en-GB" noProof="1"/>
              <a:t>01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382A972F-B474-1F4C-ADBD-2802BE31C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22376" y="2768048"/>
            <a:ext cx="4625974" cy="6124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lang="en-GB" sz="1900" b="1" kern="1200" noProof="1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Aft>
                <a:spcPts val="0"/>
              </a:spcAft>
              <a:buNone/>
              <a:defRPr lang="en-GB" sz="1200" b="0" kern="1200" cap="all" baseline="0" noProof="1">
                <a:solidFill>
                  <a:schemeClr val="tx1"/>
                </a:solidFill>
                <a:latin typeface="Renault Group Light" pitchFamily="2" charset="0"/>
                <a:ea typeface="+mn-ea"/>
                <a:cs typeface="+mn-cs"/>
              </a:defRPr>
            </a:lvl2pPr>
            <a:lvl5pPr>
              <a:defRPr/>
            </a:lvl5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GB" noProof="1"/>
              <a:t>Chapter title</a:t>
            </a:r>
          </a:p>
          <a:p>
            <a:pPr marL="0" lvl="1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en-GB" noProof="1"/>
              <a:t>CHAPTER SUBTITLE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F8DD454B-C11C-F24D-89A7-8F4724DCDA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5775" y="2768048"/>
            <a:ext cx="488950" cy="4154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lang="fr-FR" sz="30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>
              <a:defRPr b="1"/>
            </a:lvl2pPr>
            <a:lvl5pPr>
              <a:defRPr/>
            </a:lvl5pPr>
          </a:lstStyle>
          <a:p>
            <a:pPr lvl="0"/>
            <a:r>
              <a:rPr lang="en-GB" noProof="1"/>
              <a:t>02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53C8DB35-923C-1242-A20F-EBC9F8BD81A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22376" y="3801593"/>
            <a:ext cx="4625974" cy="6124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lang="en-GB" sz="1900" b="1" kern="1200" noProof="1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Aft>
                <a:spcPts val="0"/>
              </a:spcAft>
              <a:buNone/>
              <a:defRPr lang="en-GB" sz="1200" b="0" kern="1200" cap="all" baseline="0" noProof="1">
                <a:solidFill>
                  <a:schemeClr val="tx1"/>
                </a:solidFill>
                <a:latin typeface="Renault Group Light" pitchFamily="2" charset="0"/>
                <a:ea typeface="+mn-ea"/>
                <a:cs typeface="+mn-cs"/>
              </a:defRPr>
            </a:lvl2pPr>
            <a:lvl5pPr>
              <a:defRPr/>
            </a:lvl5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GB" noProof="1"/>
              <a:t>Chapter title</a:t>
            </a:r>
          </a:p>
          <a:p>
            <a:pPr marL="0" lvl="1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en-GB" noProof="1"/>
              <a:t>Chapter subtitle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1E7A1BF8-675E-3C49-8FE9-21D281575F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5775" y="3801593"/>
            <a:ext cx="488950" cy="4154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lang="fr-FR" sz="30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>
              <a:defRPr b="1"/>
            </a:lvl2pPr>
            <a:lvl5pPr>
              <a:defRPr/>
            </a:lvl5pPr>
          </a:lstStyle>
          <a:p>
            <a:pPr lvl="0"/>
            <a:r>
              <a:rPr lang="en-GB" noProof="1"/>
              <a:t>03</a:t>
            </a:r>
          </a:p>
        </p:txBody>
      </p:sp>
      <p:sp>
        <p:nvSpPr>
          <p:cNvPr id="31" name="Espace réservé du texte 15">
            <a:extLst>
              <a:ext uri="{FF2B5EF4-FFF2-40B4-BE49-F238E27FC236}">
                <a16:creationId xmlns:a16="http://schemas.microsoft.com/office/drawing/2014/main" id="{5E934149-10A5-6B41-A809-AC36561335E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22376" y="4835139"/>
            <a:ext cx="4625974" cy="6124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lang="en-GB" sz="1900" b="1" kern="1200" noProof="1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Aft>
                <a:spcPts val="0"/>
              </a:spcAft>
              <a:buNone/>
              <a:defRPr lang="en-GB" sz="1200" b="0" kern="1200" cap="all" baseline="0" noProof="1">
                <a:solidFill>
                  <a:schemeClr val="tx1"/>
                </a:solidFill>
                <a:latin typeface="Renault Group Light" pitchFamily="2" charset="0"/>
                <a:ea typeface="+mn-ea"/>
                <a:cs typeface="+mn-cs"/>
              </a:defRPr>
            </a:lvl2pPr>
            <a:lvl5pPr>
              <a:defRPr/>
            </a:lvl5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GB" noProof="1"/>
              <a:t>Chapter title</a:t>
            </a:r>
          </a:p>
          <a:p>
            <a:pPr marL="0" lvl="1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en-GB" noProof="1"/>
              <a:t>Chapter subtitle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E3299AD5-326E-724F-9D7D-0707F9BB75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5775" y="4835139"/>
            <a:ext cx="488950" cy="4154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lang="fr-FR" sz="30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>
              <a:defRPr b="1"/>
            </a:lvl2pPr>
            <a:lvl5pPr>
              <a:defRPr/>
            </a:lvl5pPr>
          </a:lstStyle>
          <a:p>
            <a:pPr lvl="0"/>
            <a:r>
              <a:rPr lang="en-GB" noProof="1"/>
              <a:t>04</a:t>
            </a:r>
          </a:p>
        </p:txBody>
      </p:sp>
      <p:sp>
        <p:nvSpPr>
          <p:cNvPr id="33" name="Espace réservé du texte 15">
            <a:extLst>
              <a:ext uri="{FF2B5EF4-FFF2-40B4-BE49-F238E27FC236}">
                <a16:creationId xmlns:a16="http://schemas.microsoft.com/office/drawing/2014/main" id="{32A45F41-86FF-8944-AB89-E3CB3D6FB9B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80440" y="1734503"/>
            <a:ext cx="4625974" cy="6124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lang="en-GB" sz="1900" b="1" kern="1200" noProof="1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Aft>
                <a:spcPts val="0"/>
              </a:spcAft>
              <a:buNone/>
              <a:defRPr lang="en-GB" sz="1200" b="0" kern="1200" cap="all" baseline="0" noProof="1">
                <a:solidFill>
                  <a:schemeClr val="tx1"/>
                </a:solidFill>
                <a:latin typeface="Renault Group Light" pitchFamily="2" charset="0"/>
                <a:ea typeface="+mn-ea"/>
                <a:cs typeface="+mn-cs"/>
              </a:defRPr>
            </a:lvl2pPr>
            <a:lvl5pPr>
              <a:defRPr/>
            </a:lvl5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GB" noProof="1"/>
              <a:t>Chapter title</a:t>
            </a:r>
          </a:p>
          <a:p>
            <a:pPr marL="0" lvl="1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en-GB" noProof="1"/>
              <a:t>Chapter sub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3EFA4410-6E3F-1749-836D-F3D77FF011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43839" y="1734503"/>
            <a:ext cx="488950" cy="4154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lang="fr-FR" sz="30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>
              <a:defRPr b="1"/>
            </a:lvl2pPr>
            <a:lvl5pPr>
              <a:defRPr/>
            </a:lvl5pPr>
          </a:lstStyle>
          <a:p>
            <a:pPr lvl="0"/>
            <a:r>
              <a:rPr lang="en-GB" noProof="1"/>
              <a:t>05</a:t>
            </a:r>
          </a:p>
        </p:txBody>
      </p:sp>
      <p:sp>
        <p:nvSpPr>
          <p:cNvPr id="35" name="Espace réservé du texte 15">
            <a:extLst>
              <a:ext uri="{FF2B5EF4-FFF2-40B4-BE49-F238E27FC236}">
                <a16:creationId xmlns:a16="http://schemas.microsoft.com/office/drawing/2014/main" id="{2EF9F75F-BA2C-B040-91F3-AE0DF719509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080440" y="2768048"/>
            <a:ext cx="4625974" cy="6124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lang="en-GB" sz="1900" b="1" kern="1200" noProof="1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Aft>
                <a:spcPts val="0"/>
              </a:spcAft>
              <a:buNone/>
              <a:defRPr lang="en-GB" sz="1200" b="0" kern="1200" cap="all" baseline="0" noProof="1">
                <a:solidFill>
                  <a:schemeClr val="tx1"/>
                </a:solidFill>
                <a:latin typeface="Renault Group Light" pitchFamily="2" charset="0"/>
                <a:ea typeface="+mn-ea"/>
                <a:cs typeface="+mn-cs"/>
              </a:defRPr>
            </a:lvl2pPr>
            <a:lvl5pPr>
              <a:defRPr/>
            </a:lvl5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GB" noProof="1"/>
              <a:t>Chapter title</a:t>
            </a:r>
          </a:p>
          <a:p>
            <a:pPr marL="0" lvl="1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en-GB" noProof="1"/>
              <a:t>Chapter subtitle</a:t>
            </a:r>
          </a:p>
        </p:txBody>
      </p:sp>
      <p:sp>
        <p:nvSpPr>
          <p:cNvPr id="36" name="Espace réservé du texte 15">
            <a:extLst>
              <a:ext uri="{FF2B5EF4-FFF2-40B4-BE49-F238E27FC236}">
                <a16:creationId xmlns:a16="http://schemas.microsoft.com/office/drawing/2014/main" id="{634191D2-D2BA-AD4C-8CAB-5CC0CC3589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43839" y="2768048"/>
            <a:ext cx="488950" cy="4154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lang="fr-FR" sz="30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>
              <a:defRPr b="1"/>
            </a:lvl2pPr>
            <a:lvl5pPr>
              <a:defRPr/>
            </a:lvl5pPr>
          </a:lstStyle>
          <a:p>
            <a:pPr lvl="0"/>
            <a:r>
              <a:rPr lang="en-GB" noProof="1"/>
              <a:t>06</a:t>
            </a:r>
          </a:p>
        </p:txBody>
      </p:sp>
      <p:sp>
        <p:nvSpPr>
          <p:cNvPr id="37" name="Espace réservé du texte 15">
            <a:extLst>
              <a:ext uri="{FF2B5EF4-FFF2-40B4-BE49-F238E27FC236}">
                <a16:creationId xmlns:a16="http://schemas.microsoft.com/office/drawing/2014/main" id="{1574E94A-61DC-E04B-A42D-FF72D7E7078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080440" y="3801593"/>
            <a:ext cx="4625974" cy="6124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lang="en-GB" sz="1900" b="1" kern="1200" noProof="1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Aft>
                <a:spcPts val="0"/>
              </a:spcAft>
              <a:buNone/>
              <a:defRPr lang="en-GB" sz="1200" b="0" kern="1200" cap="all" baseline="0" noProof="1">
                <a:solidFill>
                  <a:schemeClr val="tx1"/>
                </a:solidFill>
                <a:latin typeface="Renault Group Light" pitchFamily="2" charset="0"/>
                <a:ea typeface="+mn-ea"/>
                <a:cs typeface="+mn-cs"/>
              </a:defRPr>
            </a:lvl2pPr>
            <a:lvl5pPr>
              <a:defRPr/>
            </a:lvl5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GB" noProof="1"/>
              <a:t>Chapter title</a:t>
            </a:r>
          </a:p>
          <a:p>
            <a:pPr marL="0" lvl="1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en-GB" noProof="1"/>
              <a:t>Chapter subtitle</a:t>
            </a:r>
          </a:p>
        </p:txBody>
      </p:sp>
      <p:sp>
        <p:nvSpPr>
          <p:cNvPr id="38" name="Espace réservé du texte 15">
            <a:extLst>
              <a:ext uri="{FF2B5EF4-FFF2-40B4-BE49-F238E27FC236}">
                <a16:creationId xmlns:a16="http://schemas.microsoft.com/office/drawing/2014/main" id="{39471245-5BEA-DD42-ACA1-1F4C83CCEBB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43839" y="3801593"/>
            <a:ext cx="488950" cy="4154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lang="fr-FR" sz="30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>
              <a:defRPr b="1"/>
            </a:lvl2pPr>
            <a:lvl5pPr>
              <a:defRPr/>
            </a:lvl5pPr>
          </a:lstStyle>
          <a:p>
            <a:pPr lvl="0"/>
            <a:r>
              <a:rPr lang="en-GB" noProof="1"/>
              <a:t>07</a:t>
            </a:r>
          </a:p>
        </p:txBody>
      </p:sp>
      <p:sp>
        <p:nvSpPr>
          <p:cNvPr id="39" name="Espace réservé du texte 15">
            <a:extLst>
              <a:ext uri="{FF2B5EF4-FFF2-40B4-BE49-F238E27FC236}">
                <a16:creationId xmlns:a16="http://schemas.microsoft.com/office/drawing/2014/main" id="{3E078CC2-A186-B54D-A1EE-7C14E59DB5C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080440" y="4835139"/>
            <a:ext cx="4625974" cy="6124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lang="en-GB" sz="1900" b="1" kern="1200" noProof="1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Aft>
                <a:spcPts val="0"/>
              </a:spcAft>
              <a:buNone/>
              <a:defRPr lang="en-GB" sz="1200" b="0" kern="1200" cap="all" baseline="0" noProof="1">
                <a:solidFill>
                  <a:schemeClr val="tx1"/>
                </a:solidFill>
                <a:latin typeface="Renault Group Light" pitchFamily="2" charset="0"/>
                <a:ea typeface="+mn-ea"/>
                <a:cs typeface="+mn-cs"/>
              </a:defRPr>
            </a:lvl2pPr>
            <a:lvl5pPr>
              <a:defRPr/>
            </a:lvl5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GB" noProof="1"/>
              <a:t>Chapter title</a:t>
            </a:r>
          </a:p>
          <a:p>
            <a:pPr marL="0" lvl="1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en-GB" noProof="1"/>
              <a:t>Chapter subtitle</a:t>
            </a:r>
          </a:p>
        </p:txBody>
      </p:sp>
      <p:sp>
        <p:nvSpPr>
          <p:cNvPr id="40" name="Espace réservé du texte 15">
            <a:extLst>
              <a:ext uri="{FF2B5EF4-FFF2-40B4-BE49-F238E27FC236}">
                <a16:creationId xmlns:a16="http://schemas.microsoft.com/office/drawing/2014/main" id="{0746AB7D-ADB9-2C4D-B610-FF45F977575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43839" y="4835139"/>
            <a:ext cx="488950" cy="4154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lang="fr-FR" sz="30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>
              <a:defRPr b="1"/>
            </a:lvl2pPr>
            <a:lvl5pPr>
              <a:defRPr/>
            </a:lvl5pPr>
          </a:lstStyle>
          <a:p>
            <a:pPr lvl="0"/>
            <a:r>
              <a:rPr lang="en-GB" noProof="1"/>
              <a:t>08</a:t>
            </a:r>
          </a:p>
        </p:txBody>
      </p:sp>
    </p:spTree>
    <p:extLst>
      <p:ext uri="{BB962C8B-B14F-4D97-AF65-F5344CB8AC3E}">
        <p14:creationId xmlns:p14="http://schemas.microsoft.com/office/powerpoint/2010/main" val="672615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4">
          <p15:clr>
            <a:srgbClr val="5ACBF0"/>
          </p15:clr>
        </p15:guide>
        <p15:guide id="3" pos="3684">
          <p15:clr>
            <a:srgbClr val="5ACBF0"/>
          </p15:clr>
        </p15:guide>
        <p15:guide id="4" pos="614">
          <p15:clr>
            <a:srgbClr val="5ACBF0"/>
          </p15:clr>
        </p15:guide>
        <p15:guide id="5" pos="770">
          <p15:clr>
            <a:srgbClr val="5ACBF0"/>
          </p15:clr>
        </p15:guide>
        <p15:guide id="6" pos="4460">
          <p15:clr>
            <a:srgbClr val="5ACBF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832A62AD-C22D-4114-A10C-3A64C51331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05700" y="0"/>
            <a:ext cx="46863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1"/>
              <a:t>Cliquez sur l'icône pour ajouter une image</a:t>
            </a:r>
            <a:endParaRPr lang="en-GB" noProof="1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3C52FF19-C736-454C-A6D9-3AB351A7C1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5775" y="3860398"/>
            <a:ext cx="1381662" cy="83099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fr-FR" sz="6000" b="1" kern="12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noProof="1"/>
              <a:t>00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5201888-7424-674A-8C08-22C62DC45C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775" y="4749422"/>
            <a:ext cx="6537325" cy="16196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Aft>
                <a:spcPts val="300"/>
              </a:spcAft>
              <a:defRPr lang="fr-FR" sz="2600" b="1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lang="en-GB" sz="1400" strike="noStrike" kern="1200" cap="all" baseline="0" noProof="1">
                <a:solidFill>
                  <a:schemeClr val="tx1"/>
                </a:solidFill>
                <a:latin typeface="Renault Group Light" pitchFamily="2" charset="0"/>
                <a:ea typeface="+mn-ea"/>
                <a:cs typeface="+mn-cs"/>
              </a:defRPr>
            </a:lvl2pPr>
            <a:lvl3pPr marL="126000" indent="-126000">
              <a:defRPr/>
            </a:lvl3pPr>
            <a:lvl4pPr marL="126000" indent="-126000">
              <a:defRPr/>
            </a:lvl4pPr>
            <a:lvl5pPr marL="126000" indent="-126000">
              <a:defRPr/>
            </a:lvl5pPr>
          </a:lstStyle>
          <a:p>
            <a:pPr lvl="0"/>
            <a:r>
              <a:rPr lang="en-GB" noProof="1"/>
              <a:t>Chapter title</a:t>
            </a:r>
          </a:p>
          <a:p>
            <a:pPr marL="0" lvl="1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</a:pPr>
            <a:r>
              <a:rPr lang="en-GB" noProof="1"/>
              <a:t>Chapter subtitle</a:t>
            </a:r>
          </a:p>
        </p:txBody>
      </p:sp>
    </p:spTree>
    <p:extLst>
      <p:ext uri="{BB962C8B-B14F-4D97-AF65-F5344CB8AC3E}">
        <p14:creationId xmlns:p14="http://schemas.microsoft.com/office/powerpoint/2010/main" val="913859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28">
          <p15:clr>
            <a:srgbClr val="5ACBF0"/>
          </p15:clr>
        </p15:guide>
        <p15:guide id="2" pos="4424">
          <p15:clr>
            <a:srgbClr val="5ACBF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5E7ACA1-781D-D245-A615-1BA99DDADC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1"/>
              <a:t>Avant-projets</a:t>
            </a: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742C5D36-EB7D-E341-A312-C09503CAD4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6849" y="259651"/>
            <a:ext cx="477225" cy="232747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6173BC7-F836-E64C-9918-06E2532200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5775" y="266400"/>
            <a:ext cx="9359900" cy="298450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1" i="0">
                <a:latin typeface="+mj-lt"/>
              </a:defRPr>
            </a:lvl1pPr>
          </a:lstStyle>
          <a:p>
            <a:pPr lvl="0"/>
            <a:r>
              <a:rPr lang="en-GB" noProof="1"/>
              <a:t>Titl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BA7F692-6109-4850-BB77-52C7765E2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6" y="873125"/>
            <a:ext cx="11218298" cy="549592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 b="1" cap="all" baseline="0">
                <a:solidFill>
                  <a:schemeClr val="accent1"/>
                </a:solidFill>
                <a:latin typeface="Read" panose="020B0501020204020B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b="0" i="0">
                <a:latin typeface="+mn-lt"/>
              </a:defRPr>
            </a:lvl2pPr>
            <a:lvl3pPr marL="269875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b="0" i="0">
                <a:latin typeface="+mn-lt"/>
              </a:defRPr>
            </a:lvl3pPr>
            <a:lvl4pPr marL="35718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Renault Group" pitchFamily="2" charset="0"/>
              <a:buChar char="-"/>
              <a:defRPr sz="1400" b="0" i="0">
                <a:solidFill>
                  <a:schemeClr val="tx1"/>
                </a:solidFill>
                <a:latin typeface="+mn-lt"/>
              </a:defRPr>
            </a:lvl4pPr>
            <a:lvl5pPr marL="5397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fr-FR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693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fr-FR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95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fr-FR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5412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GB" sz="1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noProof="1"/>
              <a:t>Text level 1</a:t>
            </a:r>
          </a:p>
          <a:p>
            <a:pPr lvl="1"/>
            <a:r>
              <a:rPr lang="en-GB" noProof="1"/>
              <a:t>Text level 2</a:t>
            </a:r>
          </a:p>
          <a:p>
            <a:pPr lvl="2"/>
            <a:r>
              <a:rPr lang="en-GB" noProof="1"/>
              <a:t>Text level 3</a:t>
            </a:r>
          </a:p>
          <a:p>
            <a:pPr lvl="3"/>
            <a:r>
              <a:rPr lang="en-GB" noProof="1"/>
              <a:t>Text level 4</a:t>
            </a:r>
          </a:p>
          <a:p>
            <a:pPr lvl="4"/>
            <a:r>
              <a:rPr lang="en-GB" noProof="1"/>
              <a:t>Text level 5</a:t>
            </a:r>
          </a:p>
          <a:p>
            <a:pPr lvl="5"/>
            <a:r>
              <a:rPr lang="en-GB" noProof="1"/>
              <a:t>Text level 6</a:t>
            </a:r>
          </a:p>
          <a:p>
            <a:pPr lvl="6"/>
            <a:r>
              <a:rPr lang="en-GB" noProof="1"/>
              <a:t>Text level 7</a:t>
            </a:r>
          </a:p>
          <a:p>
            <a:pPr lvl="7"/>
            <a:r>
              <a:rPr lang="en-GB" noProof="1"/>
              <a:t>Text level 8</a:t>
            </a:r>
          </a:p>
          <a:p>
            <a:pPr lvl="8"/>
            <a:r>
              <a:rPr lang="en-GB" noProof="1"/>
              <a:t>Text level 9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C79D6C1-451F-4A1F-BAC9-1C88666A3866}"/>
              </a:ext>
            </a:extLst>
          </p:cNvPr>
          <p:cNvSpPr txBox="1"/>
          <p:nvPr userDrawn="1"/>
        </p:nvSpPr>
        <p:spPr>
          <a:xfrm>
            <a:off x="10505440" y="6677324"/>
            <a:ext cx="1580960" cy="128249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txBody>
          <a:bodyPr wrap="square" lIns="54000" tIns="0" rIns="0" bIns="0" rtlCol="0" anchor="ctr" anchorCtr="0">
            <a:noAutofit/>
          </a:bodyPr>
          <a:lstStyle/>
          <a:p>
            <a:pPr algn="l"/>
            <a:r>
              <a:rPr lang="fr-FR" sz="1050" b="0" i="0">
                <a:solidFill>
                  <a:schemeClr val="tx1"/>
                </a:solidFill>
                <a:latin typeface="Renault Group" pitchFamily="2" charset="0"/>
                <a:cs typeface="Arial" panose="020B0604020202020204" pitchFamily="34" charset="0"/>
              </a:rPr>
              <a:t>Renault confidentiel B</a:t>
            </a:r>
          </a:p>
        </p:txBody>
      </p:sp>
    </p:spTree>
    <p:extLst>
      <p:ext uri="{BB962C8B-B14F-4D97-AF65-F5344CB8AC3E}">
        <p14:creationId xmlns:p14="http://schemas.microsoft.com/office/powerpoint/2010/main" val="330905000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5E7ACA1-781D-D245-A615-1BA99DDADC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1"/>
              <a:t>Presentation title</a:t>
            </a: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742C5D36-EB7D-E341-A312-C09503CAD4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6849" y="259200"/>
            <a:ext cx="477225" cy="232747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6173BC7-F836-E64C-9918-06E2532200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5775" y="266400"/>
            <a:ext cx="9359900" cy="298450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1" i="0">
                <a:latin typeface="+mj-lt"/>
              </a:defRPr>
            </a:lvl1pPr>
          </a:lstStyle>
          <a:p>
            <a:pPr lvl="0"/>
            <a:r>
              <a:rPr lang="en-GB" noProof="1"/>
              <a:t>Title</a:t>
            </a:r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F9978675-3FB6-FE46-A5F5-3A9220E47E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5776" y="873125"/>
            <a:ext cx="4197350" cy="5495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720000" anchor="ctr"/>
          <a:lstStyle>
            <a:lvl1pPr algn="ctr">
              <a:defRPr lang="en-GB" sz="1400" b="0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1"/>
              <a:t>Image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0AB671BF-7184-45C5-99F1-30B0853CDC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68752" y="873125"/>
            <a:ext cx="6535321" cy="549592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GB" sz="1800" b="1" kern="1200" cap="all" baseline="0" noProof="1">
                <a:solidFill>
                  <a:schemeClr val="accent1"/>
                </a:solidFill>
                <a:latin typeface="Read" panose="020B0501020204020B04" pitchFamily="34" charset="0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GB" sz="1400" b="0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GB" sz="1400" b="0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718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Renault Group" pitchFamily="2" charset="0"/>
              <a:buChar char="-"/>
              <a:defRPr lang="en-GB" sz="1400" b="0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400" b="0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GB" sz="1400" b="0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693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GB" sz="1400" b="0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95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GB" sz="1400" b="0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5412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GB" sz="1400" b="0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noProof="1"/>
              <a:t>Text level 1</a:t>
            </a:r>
          </a:p>
          <a:p>
            <a:pPr marL="0" lvl="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GB" noProof="1"/>
              <a:t>Text level 2</a:t>
            </a:r>
          </a:p>
          <a:p>
            <a:pPr marL="269875" lvl="2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noProof="1"/>
              <a:t>Text level 3</a:t>
            </a:r>
          </a:p>
          <a:p>
            <a:pPr marL="357188" lvl="3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Renault Group" pitchFamily="2" charset="0"/>
              <a:buChar char="-"/>
            </a:pPr>
            <a:r>
              <a:rPr lang="en-GB" noProof="1"/>
              <a:t>Text level 4</a:t>
            </a:r>
          </a:p>
          <a:p>
            <a:pPr marL="539750" lvl="4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 noProof="1"/>
              <a:t>Text level 5</a:t>
            </a:r>
          </a:p>
          <a:p>
            <a:pPr marL="714375" lvl="5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 noProof="1"/>
              <a:t>Text level 6</a:t>
            </a:r>
          </a:p>
          <a:p>
            <a:pPr marL="896938" lvl="6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 noProof="1"/>
              <a:t>Text level 7</a:t>
            </a:r>
          </a:p>
          <a:p>
            <a:pPr marL="1079500" lvl="7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 noProof="1"/>
              <a:t>Text level 8</a:t>
            </a:r>
          </a:p>
          <a:p>
            <a:pPr marL="1254125" lvl="8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 noProof="1"/>
              <a:t>Text level 9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C38AD62-55E1-41B0-ABC3-2299118E3A64}"/>
              </a:ext>
            </a:extLst>
          </p:cNvPr>
          <p:cNvSpPr txBox="1"/>
          <p:nvPr userDrawn="1"/>
        </p:nvSpPr>
        <p:spPr>
          <a:xfrm>
            <a:off x="10566400" y="6637294"/>
            <a:ext cx="1520000" cy="1682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txBody>
          <a:bodyPr wrap="square" lIns="54000" tIns="0" rIns="0" bIns="0" rtlCol="0" anchor="ctr" anchorCtr="0">
            <a:noAutofit/>
          </a:bodyPr>
          <a:lstStyle/>
          <a:p>
            <a:pPr algn="l"/>
            <a:r>
              <a:rPr lang="fr-FR" sz="1050" b="0" i="0">
                <a:solidFill>
                  <a:schemeClr val="tx1"/>
                </a:solidFill>
                <a:latin typeface="Renault Group" pitchFamily="2" charset="0"/>
                <a:cs typeface="Arial" panose="020B0604020202020204" pitchFamily="34" charset="0"/>
              </a:rPr>
              <a:t>Renault confidentiel B</a:t>
            </a:r>
          </a:p>
        </p:txBody>
      </p:sp>
    </p:spTree>
    <p:extLst>
      <p:ext uri="{BB962C8B-B14F-4D97-AF65-F5344CB8AC3E}">
        <p14:creationId xmlns:p14="http://schemas.microsoft.com/office/powerpoint/2010/main" val="2234919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0">
          <p15:clr>
            <a:srgbClr val="5ACBF0"/>
          </p15:clr>
        </p15:guide>
        <p15:guide id="2" pos="3254">
          <p15:clr>
            <a:srgbClr val="5ACBF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5E7ACA1-781D-D245-A615-1BA99DDADC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noProof="1"/>
              <a:t>Presentation title</a:t>
            </a: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742C5D36-EB7D-E341-A312-C09503CAD4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6849" y="259651"/>
            <a:ext cx="477225" cy="232747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6173BC7-F836-E64C-9918-06E2532200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5775" y="266400"/>
            <a:ext cx="9359900" cy="298450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1" i="0">
                <a:latin typeface="+mj-lt"/>
              </a:defRPr>
            </a:lvl1pPr>
          </a:lstStyle>
          <a:p>
            <a:pPr lvl="0"/>
            <a:r>
              <a:rPr lang="en-GB" noProof="1"/>
              <a:t>Title</a:t>
            </a:r>
          </a:p>
        </p:txBody>
      </p:sp>
      <p:sp>
        <p:nvSpPr>
          <p:cNvPr id="8" name="Espace réservé du texte 15">
            <a:extLst>
              <a:ext uri="{FF2B5EF4-FFF2-40B4-BE49-F238E27FC236}">
                <a16:creationId xmlns:a16="http://schemas.microsoft.com/office/drawing/2014/main" id="{8AA58855-F4CB-4C81-ADF4-0A4537DD14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5776" y="885512"/>
            <a:ext cx="4197349" cy="266233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lang="en-GB" sz="1050" b="1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</a:pPr>
            <a:r>
              <a:rPr lang="en-GB" noProof="1"/>
              <a:t>Graph title</a:t>
            </a:r>
          </a:p>
        </p:txBody>
      </p:sp>
      <p:sp>
        <p:nvSpPr>
          <p:cNvPr id="9" name="Espace réservé du graphique 13">
            <a:extLst>
              <a:ext uri="{FF2B5EF4-FFF2-40B4-BE49-F238E27FC236}">
                <a16:creationId xmlns:a16="http://schemas.microsoft.com/office/drawing/2014/main" id="{C3325CD3-4E42-4158-B33B-E83651FCE5CB}"/>
              </a:ext>
            </a:extLst>
          </p:cNvPr>
          <p:cNvSpPr>
            <a:spLocks noGrp="1"/>
          </p:cNvSpPr>
          <p:nvPr>
            <p:ph type="chart" sz="quarter" idx="27" hasCustomPrompt="1"/>
          </p:nvPr>
        </p:nvSpPr>
        <p:spPr>
          <a:xfrm>
            <a:off x="485775" y="1156812"/>
            <a:ext cx="4197349" cy="21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 lang="en-GB" sz="1400" b="0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1"/>
              <a:t>Graph</a:t>
            </a:r>
          </a:p>
        </p:txBody>
      </p:sp>
      <p:sp>
        <p:nvSpPr>
          <p:cNvPr id="12" name="Espace réservé du texte 15">
            <a:extLst>
              <a:ext uri="{FF2B5EF4-FFF2-40B4-BE49-F238E27FC236}">
                <a16:creationId xmlns:a16="http://schemas.microsoft.com/office/drawing/2014/main" id="{CEF1DF7B-58A1-4089-9150-D68F4BC0F6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5524" y="3943308"/>
            <a:ext cx="4197600" cy="266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lang="en-GB" sz="1050" b="1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</a:pPr>
            <a:r>
              <a:rPr lang="en-GB" noProof="1"/>
              <a:t>Graph title</a:t>
            </a:r>
          </a:p>
        </p:txBody>
      </p:sp>
      <p:sp>
        <p:nvSpPr>
          <p:cNvPr id="13" name="Espace réservé du graphique 13">
            <a:extLst>
              <a:ext uri="{FF2B5EF4-FFF2-40B4-BE49-F238E27FC236}">
                <a16:creationId xmlns:a16="http://schemas.microsoft.com/office/drawing/2014/main" id="{F77B3A83-4A1D-4283-98E9-D97650717CC2}"/>
              </a:ext>
            </a:extLst>
          </p:cNvPr>
          <p:cNvSpPr>
            <a:spLocks noGrp="1"/>
          </p:cNvSpPr>
          <p:nvPr>
            <p:ph type="chart" sz="quarter" idx="29" hasCustomPrompt="1"/>
          </p:nvPr>
        </p:nvSpPr>
        <p:spPr>
          <a:xfrm>
            <a:off x="485524" y="4209050"/>
            <a:ext cx="4197348" cy="21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 lang="en-GB" sz="1400" b="0" i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1"/>
              <a:t>Graph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A7A8C72-7EDA-4E79-850D-21461B55F689}"/>
              </a:ext>
            </a:extLst>
          </p:cNvPr>
          <p:cNvSpPr txBox="1"/>
          <p:nvPr userDrawn="1"/>
        </p:nvSpPr>
        <p:spPr>
          <a:xfrm>
            <a:off x="10546080" y="6661574"/>
            <a:ext cx="1540320" cy="144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txBody>
          <a:bodyPr wrap="square" lIns="54000" tIns="0" rIns="0" bIns="0" rtlCol="0" anchor="ctr" anchorCtr="0">
            <a:noAutofit/>
          </a:bodyPr>
          <a:lstStyle/>
          <a:p>
            <a:pPr algn="l"/>
            <a:r>
              <a:rPr lang="fr-FR" sz="1050" b="0" i="0">
                <a:solidFill>
                  <a:schemeClr val="tx1"/>
                </a:solidFill>
                <a:latin typeface="Renault Group" pitchFamily="2" charset="0"/>
                <a:cs typeface="Arial" panose="020B0604020202020204" pitchFamily="34" charset="0"/>
              </a:rPr>
              <a:t>Renault confidentiel B</a:t>
            </a:r>
          </a:p>
        </p:txBody>
      </p:sp>
      <p:sp>
        <p:nvSpPr>
          <p:cNvPr id="14" name="Espace réservé du texte 9">
            <a:extLst>
              <a:ext uri="{FF2B5EF4-FFF2-40B4-BE49-F238E27FC236}">
                <a16:creationId xmlns:a16="http://schemas.microsoft.com/office/drawing/2014/main" id="{C59D7689-832F-B644-905E-3989424595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65724" y="873125"/>
            <a:ext cx="6538349" cy="549592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800" b="1" cap="all" baseline="0">
                <a:solidFill>
                  <a:schemeClr val="accent1"/>
                </a:solidFill>
                <a:latin typeface="Read" panose="020B0501020204020B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b="0" i="0">
                <a:latin typeface="+mn-lt"/>
              </a:defRPr>
            </a:lvl2pPr>
            <a:lvl3pPr marL="269875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b="0" i="0">
                <a:latin typeface="+mn-lt"/>
              </a:defRPr>
            </a:lvl3pPr>
            <a:lvl4pPr marL="35718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Renault Group" pitchFamily="2" charset="0"/>
              <a:buChar char="-"/>
              <a:defRPr sz="1400" b="0" i="0">
                <a:solidFill>
                  <a:schemeClr val="tx1"/>
                </a:solidFill>
                <a:latin typeface="+mn-lt"/>
              </a:defRPr>
            </a:lvl4pPr>
            <a:lvl5pPr marL="5397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fr-FR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6938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fr-FR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95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fr-FR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54125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GB" sz="1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noProof="1"/>
              <a:t>Text level 1</a:t>
            </a:r>
          </a:p>
          <a:p>
            <a:pPr lvl="1"/>
            <a:r>
              <a:rPr lang="en-GB" noProof="1"/>
              <a:t>Text level 2</a:t>
            </a:r>
          </a:p>
          <a:p>
            <a:pPr lvl="2"/>
            <a:r>
              <a:rPr lang="en-GB" noProof="1"/>
              <a:t>Text level 3</a:t>
            </a:r>
          </a:p>
          <a:p>
            <a:pPr lvl="3"/>
            <a:r>
              <a:rPr lang="en-GB" noProof="1"/>
              <a:t>Text level 4</a:t>
            </a:r>
          </a:p>
          <a:p>
            <a:pPr lvl="4"/>
            <a:r>
              <a:rPr lang="en-GB" noProof="1"/>
              <a:t>Text level 5</a:t>
            </a:r>
          </a:p>
          <a:p>
            <a:pPr lvl="5"/>
            <a:r>
              <a:rPr lang="en-GB" noProof="1"/>
              <a:t>Text level 6</a:t>
            </a:r>
          </a:p>
          <a:p>
            <a:pPr lvl="6"/>
            <a:r>
              <a:rPr lang="en-GB" noProof="1"/>
              <a:t>Text level 7</a:t>
            </a:r>
          </a:p>
          <a:p>
            <a:pPr lvl="7"/>
            <a:r>
              <a:rPr lang="en-GB" noProof="1"/>
              <a:t>Text level 8</a:t>
            </a:r>
          </a:p>
          <a:p>
            <a:pPr lvl="8"/>
            <a:r>
              <a:rPr lang="en-GB" noProof="1"/>
              <a:t>Text level 9</a:t>
            </a:r>
          </a:p>
        </p:txBody>
      </p:sp>
    </p:spTree>
    <p:extLst>
      <p:ext uri="{BB962C8B-B14F-4D97-AF65-F5344CB8AC3E}">
        <p14:creationId xmlns:p14="http://schemas.microsoft.com/office/powerpoint/2010/main" val="381883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0">
          <p15:clr>
            <a:srgbClr val="5ACBF0"/>
          </p15:clr>
        </p15:guide>
        <p15:guide id="2" pos="3254">
          <p15:clr>
            <a:srgbClr val="5ACBF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r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pour une image  8">
            <a:extLst>
              <a:ext uri="{FF2B5EF4-FFF2-40B4-BE49-F238E27FC236}">
                <a16:creationId xmlns:a16="http://schemas.microsoft.com/office/drawing/2014/main" id="{4368DC68-8CF4-7A4A-BA3B-06D6327B2F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F5D60235-A6B9-9B47-BA9F-8306356311F4}"/>
              </a:ext>
            </a:extLst>
          </p:cNvPr>
          <p:cNvSpPr txBox="1"/>
          <p:nvPr userDrawn="1"/>
        </p:nvSpPr>
        <p:spPr>
          <a:xfrm>
            <a:off x="2611890" y="5044191"/>
            <a:ext cx="69650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36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42550231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pour une image  8">
            <a:extLst>
              <a:ext uri="{FF2B5EF4-FFF2-40B4-BE49-F238E27FC236}">
                <a16:creationId xmlns:a16="http://schemas.microsoft.com/office/drawing/2014/main" id="{F6C36FAF-EA84-2F4E-BC31-5EBB146474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C4CBEDEA-FFFA-2945-B51B-1561784D6CBA}"/>
              </a:ext>
            </a:extLst>
          </p:cNvPr>
          <p:cNvSpPr txBox="1"/>
          <p:nvPr userDrawn="1"/>
        </p:nvSpPr>
        <p:spPr>
          <a:xfrm>
            <a:off x="2611890" y="5044191"/>
            <a:ext cx="69650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3600" b="1" i="0" kern="120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Thank</a:t>
            </a:r>
            <a:r>
              <a:rPr lang="fr-FR" sz="36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</a:t>
            </a:r>
            <a:r>
              <a:rPr lang="fr-FR" sz="3600" b="1" i="0" kern="1200" err="1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you</a:t>
            </a:r>
            <a:endParaRPr lang="fr-FR" sz="3600" b="1" i="0" kern="1200">
              <a:solidFill>
                <a:schemeClr val="accent1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5220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nter with background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1843562"/>
            <a:ext cx="11117083" cy="800219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600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E65079B-A7F3-4458-8D93-E8D810E9878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5510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7347444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6821" y="270651"/>
            <a:ext cx="5367679" cy="313932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690220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DC6AB9-8AB9-4FE9-8C42-F0F32AFF10C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49A18B2-B361-4823-B6BC-FEA03E2C7EFB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4009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050264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BB9A967-9DD9-4DD6-A720-46986134B1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0876B5D-35F0-467F-B547-0949ADB23785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4430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0" y="1041188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5FEBFCD-F5AC-4625-A4C6-F2F348EEC5B5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092028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838D46C-1FA0-4C20-A3A5-A71F44DAB3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59" y="2404367"/>
            <a:ext cx="11117083" cy="707886"/>
          </a:xfrm>
        </p:spPr>
        <p:txBody>
          <a:bodyPr/>
          <a:lstStyle>
            <a:lvl1pPr>
              <a:defRPr sz="40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47048" y="1837478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4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47444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425132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6" name="Title_white"/>
          <p:cNvSpPr>
            <a:spLocks noGrp="1"/>
          </p:cNvSpPr>
          <p:nvPr>
            <p:ph type="title"/>
          </p:nvPr>
        </p:nvSpPr>
        <p:spPr>
          <a:xfrm>
            <a:off x="537459" y="507600"/>
            <a:ext cx="11117083" cy="60016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_white"/>
          <p:cNvSpPr>
            <a:spLocks noGrp="1"/>
          </p:cNvSpPr>
          <p:nvPr>
            <p:ph type="body" sz="quarter" idx="14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rgbClr val="FFFFFF"/>
                </a:solidFill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E8390B-E553-4AFB-9D02-3A91A917F16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8E71AD9-3287-4CF2-9EB5-584C225D8974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68556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4251960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_bottom"/>
          <p:cNvSpPr>
            <a:spLocks noGrp="1"/>
          </p:cNvSpPr>
          <p:nvPr>
            <p:ph type="title"/>
          </p:nvPr>
        </p:nvSpPr>
        <p:spPr>
          <a:xfrm>
            <a:off x="447288" y="4702149"/>
            <a:ext cx="3555570" cy="1107996"/>
          </a:xfrm>
        </p:spPr>
        <p:txBody>
          <a:bodyPr/>
          <a:lstStyle>
            <a:lvl1pPr algn="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7AD4B0-74D8-4A99-8D65-643E71AF4BF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9FB5A6-8915-4A54-B2E5-3A3142033B84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182BAD-05B8-4986-BB17-A1EEBE504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7CC83B-39BF-444E-9F0E-05AF20B460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72190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 backgroun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6249771" y="507600"/>
            <a:ext cx="5245824" cy="60016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C285DA-4081-47B1-9802-35DB6744DC1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0937ECE-B2DB-4618-817B-FA97FD1CDD89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D09ACD-7F31-45B9-830E-CB35153DEB8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399" y="6323714"/>
            <a:ext cx="4807125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AD63F7-AFCC-49EC-A106-B67FD146536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1490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3001960"/>
            <a:ext cx="11117083" cy="1892826"/>
          </a:xfrm>
        </p:spPr>
        <p:txBody>
          <a:bodyPr anchor="t" anchorCtr="0"/>
          <a:lstStyle>
            <a:lvl1pPr algn="ctr">
              <a:lnSpc>
                <a:spcPct val="90000"/>
              </a:lnSpc>
              <a:defRPr sz="6500" b="0" spc="0" baseline="0">
                <a:solidFill>
                  <a:srgbClr val="FFFFFF"/>
                </a:solidFill>
                <a:latin typeface="Work Sans Medium" panose="020B0706030804020204" pitchFamily="34" charset="0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3201FB-FE53-4F0B-8FDF-C2DEEA8F96B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62DF8EC9-7BA4-4362-A2AD-9ECE08B7FE11}" type="datetime1">
              <a:rPr lang="en-US" smtClean="0"/>
              <a:t>10/17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420328C-B50E-4E5B-A023-F1DFCF9F6B1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CCC5429-3FEC-4B5F-A188-C895E743664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862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&amp; half backgroun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6249771" y="507600"/>
            <a:ext cx="5245824" cy="60016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Subtitle_half_right"/>
          <p:cNvSpPr>
            <a:spLocks noGrp="1"/>
          </p:cNvSpPr>
          <p:nvPr>
            <p:ph type="body" sz="quarter" idx="14" hasCustomPrompt="1"/>
          </p:nvPr>
        </p:nvSpPr>
        <p:spPr>
          <a:xfrm>
            <a:off x="6251401" y="925200"/>
            <a:ext cx="5258610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4B8A11-8D61-4C4F-97A4-733042DD642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A42E25D-05C4-456B-9592-1F195A2468A3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992617-E2A3-4D69-A3DF-8DF4D293841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4"/>
            <a:ext cx="485475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54BCE30-C810-4694-95AD-55DD5391E41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72746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6EF514-C482-4232-A3C4-2A64B27FDA7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5E48E48-02AE-425B-87D4-D52333BDDC0A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58882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689246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Your Initials, Presentation Title, Month Y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689765-5485-4130-8525-AA8B12692EF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6DFB0685-E41E-48F7-892A-BB3ACAC4FF11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-1" y="1"/>
            <a:ext cx="11184567" cy="1628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0" tIns="45720" rIns="457200" bIns="4572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de-DE"/>
              <a:t>Enter </a:t>
            </a:r>
            <a:r>
              <a:rPr lang="de-DE" err="1"/>
              <a:t>slide</a:t>
            </a:r>
            <a:r>
              <a:rPr lang="de-DE"/>
              <a:t> title, Arial 24pt </a:t>
            </a:r>
            <a:r>
              <a:rPr lang="de-DE" err="1"/>
              <a:t>bold</a:t>
            </a:r>
            <a:r>
              <a:rPr lang="de-DE"/>
              <a:t>, max. 2 </a:t>
            </a:r>
            <a:r>
              <a:rPr lang="de-DE" err="1"/>
              <a:t>lines</a:t>
            </a:r>
            <a:endParaRPr lang="en-US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19ADA30C-4790-4619-A483-D1308191461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1773238"/>
            <a:ext cx="12192000" cy="46799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nter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Enter </a:t>
            </a:r>
            <a:r>
              <a:rPr lang="de-DE" err="1"/>
              <a:t>text</a:t>
            </a:r>
            <a:endParaRPr lang="de-DE"/>
          </a:p>
          <a:p>
            <a:pPr lvl="2"/>
            <a:r>
              <a:rPr lang="de-DE"/>
              <a:t>Enter </a:t>
            </a:r>
            <a:r>
              <a:rPr lang="de-DE" err="1"/>
              <a:t>text</a:t>
            </a:r>
            <a:endParaRPr lang="de-DE"/>
          </a:p>
          <a:p>
            <a:pPr lvl="3"/>
            <a:r>
              <a:rPr lang="de-DE"/>
              <a:t>Enter </a:t>
            </a:r>
            <a:r>
              <a:rPr lang="de-DE" err="1"/>
              <a:t>text</a:t>
            </a:r>
            <a:endParaRPr lang="de-DE"/>
          </a:p>
          <a:p>
            <a:pPr lvl="4"/>
            <a:r>
              <a:rPr lang="de-DE"/>
              <a:t>Enter </a:t>
            </a:r>
            <a:r>
              <a:rPr lang="de-DE" err="1"/>
              <a:t>tex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8325443"/>
      </p:ext>
    </p:extLst>
  </p:cSld>
  <p:clrMapOvr>
    <a:masterClrMapping/>
  </p:clrMapOvr>
  <p:transition>
    <p:fade/>
  </p:transition>
  <p:hf hdr="0" dt="0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KPI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BB9A967-9DD9-4DD6-A720-46986134B1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496C671-2080-4E98-AC2A-83E06E569626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24564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half backgroun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84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896ED2-8998-45EC-B37F-E645AEBA4D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50000" y="2454275"/>
            <a:ext cx="5238750" cy="2236788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IN" sz="3200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6474553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0" y="1041188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0A18FA5-BB6A-4CAA-B99D-D389D6D3D91C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917897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0" y="1041188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E722AB1-2101-43B6-8011-8CD8D4976B5C}" type="datetime5">
              <a:rPr lang="en-US" smtClean="0"/>
              <a:t>17-Oct-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36575" y="1641352"/>
            <a:ext cx="11117263" cy="43133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273675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F0595-5039-463D-8ACC-D000E2114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F07FEF-6F0E-49A1-8E3A-202145DACA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DE98B5-94EB-4D1D-BD8A-2382876046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2886E-34B7-40E0-A395-B0B534D03C47}" type="datetimeFigureOut">
              <a:rPr lang="en-US" smtClean="0"/>
              <a:t>10/1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40D7BC-7021-4CDA-BAE9-1EA35A60F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925A3B-41E5-430E-BD2F-25AA122C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3A5C7-2C34-4129-893A-4C39386A6F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8039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DC6AB9-8AB9-4FE9-8C42-F0F32AFF10C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53A1DF-3E93-443A-8F2B-3CEC791CC00C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5341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 backgrou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5" y="0"/>
            <a:ext cx="584077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04751" y="2817264"/>
            <a:ext cx="5245824" cy="5847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3D586E-F233-48FE-A780-BB4D0BED11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6897" y="4383089"/>
            <a:ext cx="5243679" cy="367816"/>
          </a:xfrm>
        </p:spPr>
        <p:txBody>
          <a:bodyPr/>
          <a:lstStyle>
            <a:lvl1pPr marL="0" indent="0">
              <a:buNone/>
              <a:defRPr/>
            </a:lvl1pPr>
            <a:lvl2pPr marL="266689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BDFC6F-3286-4A3D-A782-EF139340A1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751" y="464695"/>
            <a:ext cx="1727322" cy="49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63630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551221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BB9A967-9DD9-4DD6-A720-46986134B1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2ED7C73-C8C0-4B7C-BA9D-FBCC41F96F15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04701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1" y="924226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FFCA895-18DC-40F0-BE86-F498E7DACB07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985687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A6BACF-7090-44BF-97BE-663BB3AB658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CF4A070-D6E0-4D0A-BC09-97A17902C82A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247A4BB-C49F-46C1-BC09-CB54BF7D332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7CD851-88CA-4B66-B127-8E6BFAD2CE2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93098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838D46C-1FA0-4C20-A3A5-A71F44DAB3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60" y="2404367"/>
            <a:ext cx="11117083" cy="707758"/>
          </a:xfrm>
        </p:spPr>
        <p:txBody>
          <a:bodyPr/>
          <a:lstStyle>
            <a:lvl1pPr>
              <a:defRPr sz="3999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47048" y="1837479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4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7385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_whit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331D50D-30CF-4EDE-AAD6-F27CA1FDE9C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C49677D-3A49-4D7C-AEEF-5AC6877526CF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B98D741-86A0-4952-A3ED-78E843F23CF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8A9C1A8-0BFC-4236-A720-3456710C7F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09299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Subtitle with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_whit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_whit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rgbClr val="FFFFFF"/>
                </a:solidFill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32AF60-FE79-46A0-BC71-D44F0EA48E3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64253FB4-29F7-49B1-AE44-BFE9B5976BA2}" type="datetime1">
              <a:rPr lang="en-US" smtClean="0"/>
              <a:t>10/17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29E755B-56DD-462B-ABE5-CF5CC16BEF0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8BE4BA5-BC2D-41C2-86C7-5365F2F9A5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70288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background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60" y="515463"/>
            <a:ext cx="11117083" cy="800091"/>
          </a:xfrm>
        </p:spPr>
        <p:txBody>
          <a:bodyPr/>
          <a:lstStyle>
            <a:lvl1pPr>
              <a:defRPr sz="4599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C7AD3A-599B-4013-9C13-39954DC1600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3A60765-D4D3-4BF0-B5BD-6D5F81A88DD4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C8C8EB2-9FA7-41E0-9ED8-5393479C4C2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BEF155E-4AF5-46F2-9B1D-1AA8A27811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99910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bottom with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_big_bottom"/>
          <p:cNvSpPr>
            <a:spLocks noGrp="1"/>
          </p:cNvSpPr>
          <p:nvPr>
            <p:ph type="title"/>
          </p:nvPr>
        </p:nvSpPr>
        <p:spPr>
          <a:xfrm>
            <a:off x="537460" y="4376268"/>
            <a:ext cx="11117083" cy="800091"/>
          </a:xfrm>
        </p:spPr>
        <p:txBody>
          <a:bodyPr/>
          <a:lstStyle>
            <a:lvl1pPr>
              <a:defRPr sz="4599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0820E8D-C14D-4C0B-BD6B-8F88D7BAADE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E993468E-DD28-402D-90E7-75BFE0307CC8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74A7328-CA38-4B1B-B573-1B0774D3AC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DFC39A8-2928-4641-814D-B19F9B6E95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2326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enter with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60" y="2242485"/>
            <a:ext cx="11117083" cy="800091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599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F97BB7-0400-4F5F-B75B-E08643B21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E75D8514-76EE-4175-BAFE-2245D21F9182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FEF71E9-F7CE-4E64-AEEB-C5CAA1C4C9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06FA90-FF74-470B-B12B-CCFE0A47C26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0697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&amp; half backgrou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37461" y="426425"/>
            <a:ext cx="5245824" cy="5847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5" y="0"/>
            <a:ext cx="584077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4" hasCustomPrompt="1"/>
          </p:nvPr>
        </p:nvSpPr>
        <p:spPr>
          <a:xfrm>
            <a:off x="536401" y="1023732"/>
            <a:ext cx="5258610" cy="50906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178510113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middle with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60" y="2995089"/>
            <a:ext cx="11117083" cy="800091"/>
          </a:xfrm>
        </p:spPr>
        <p:txBody>
          <a:bodyPr anchor="ctr" anchorCtr="0"/>
          <a:lstStyle>
            <a:lvl1pPr algn="ctr">
              <a:lnSpc>
                <a:spcPct val="100000"/>
              </a:lnSpc>
              <a:defRPr sz="4599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FF18A5-09F4-47C1-A4BD-EC66B9E1685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A313DE-5A87-42DE-9873-50C199FAFF15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EBA99D-F27E-46D4-86A6-1803583B424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8AA439-BB0B-4BC6-A160-9D3AE0EBCD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50735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enter with background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60" y="1188801"/>
            <a:ext cx="11117083" cy="800091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599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87D3ED-8D67-4329-961D-BAFB628883A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E48C1E8-1ED7-4EA6-ADE3-6A55F767937B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8796849-6AD9-46A1-9917-550D61FDBEE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89D0C9D-FFF7-4329-BDB4-01B62B2341A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86525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enter with background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60" y="1843562"/>
            <a:ext cx="11117083" cy="800091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599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5CE9A5-D41A-4BF7-9FEF-B6ED1E52D14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EFE6DFD8-DA12-4809-AA7A-712C4C5CAF42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6E7D86-49F4-4E3A-A0C0-3EAB2ABB4D6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E65079B-A7F3-4458-8D93-E8D810E9878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09195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60" y="3001960"/>
            <a:ext cx="11117083" cy="1892826"/>
          </a:xfrm>
        </p:spPr>
        <p:txBody>
          <a:bodyPr anchor="t" anchorCtr="0"/>
          <a:lstStyle>
            <a:lvl1pPr algn="ctr">
              <a:lnSpc>
                <a:spcPct val="90000"/>
              </a:lnSpc>
              <a:defRPr sz="6499" b="0" spc="0" baseline="0">
                <a:solidFill>
                  <a:srgbClr val="FFFFFF"/>
                </a:solidFill>
                <a:latin typeface="Work Sans Medium" panose="020B0706030804020204" pitchFamily="34" charset="0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3201FB-FE53-4F0B-8FDF-C2DEEA8F96B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7218D98-29D0-4183-B64B-058ADFB3D0C1}" type="datetime1">
              <a:rPr lang="en-US" smtClean="0"/>
              <a:t>10/17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420328C-B50E-4E5B-A023-F1DFCF9F6B1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CCC5429-3FEC-4B5F-A188-C895E743664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425753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half backgrou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37460" y="505938"/>
            <a:ext cx="5245824" cy="107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4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DD997D5-8542-4D50-82CF-530BD681E75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5B13D2A-A265-4C13-96B8-0C9FD04767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341A3C-0269-4E96-A1C3-B8F2FE27735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021C7F-1109-4CCB-AEDE-1E3B50AB0D08}" type="datetime1">
              <a:rPr lang="en-US" smtClean="0"/>
              <a:t>10/17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0E80F82-6865-4C87-B55A-2FF7D1EA99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FBBAD8A-9C56-467E-B4BF-1DEFC44742C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52586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Subtitle &amp; half backgrou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37460" y="505937"/>
            <a:ext cx="5245824" cy="107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4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Work Sans" panose="00000500000000000000" pitchFamily="2" charset="0"/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4" hasCustomPrompt="1"/>
          </p:nvPr>
        </p:nvSpPr>
        <p:spPr>
          <a:xfrm>
            <a:off x="536401" y="925201"/>
            <a:ext cx="5258610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CA2478-8C79-49CE-AE5F-81ABB10DA7A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Work Sans" panose="00000500000000000000" pitchFamily="2" charset="0"/>
              </a:defRPr>
            </a:lvl1pPr>
          </a:lstStyle>
          <a:p>
            <a:fld id="{19CAAE00-9CAF-485B-8FC9-9BCC84B158F5}" type="datetime1">
              <a:rPr lang="en-US" smtClean="0"/>
              <a:t>10/17/2024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6BF58A0-B235-426E-9B16-F413F8ECEC4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F5FE1E4-3C23-4975-A999-240F58DD6A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8828013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half background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536401" y="6323714"/>
            <a:ext cx="4183061" cy="245776"/>
          </a:xfrm>
        </p:spPr>
        <p:txBody>
          <a:bodyPr/>
          <a:lstStyle>
            <a:lvl1pPr algn="l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Title_half_left"/>
          <p:cNvSpPr>
            <a:spLocks noGrp="1"/>
          </p:cNvSpPr>
          <p:nvPr>
            <p:ph type="title"/>
          </p:nvPr>
        </p:nvSpPr>
        <p:spPr>
          <a:xfrm>
            <a:off x="185034" y="2404368"/>
            <a:ext cx="5729991" cy="1323439"/>
          </a:xfrm>
        </p:spPr>
        <p:txBody>
          <a:bodyPr/>
          <a:lstStyle>
            <a:lvl1pPr>
              <a:defRPr sz="3999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9015911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half backgroun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right"/>
          <p:cNvSpPr>
            <a:spLocks noGrp="1"/>
          </p:cNvSpPr>
          <p:nvPr>
            <p:ph type="title"/>
          </p:nvPr>
        </p:nvSpPr>
        <p:spPr>
          <a:xfrm>
            <a:off x="6273801" y="2390232"/>
            <a:ext cx="5380741" cy="1415772"/>
          </a:xfrm>
        </p:spPr>
        <p:txBody>
          <a:bodyPr/>
          <a:lstStyle>
            <a:lvl1pPr>
              <a:defRPr sz="4299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842000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2F6C44-7D21-4EA5-8C0E-FDED3B0360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0418D1F-B085-4971-A78C-CFBBACDE6A46}" type="datetime1">
              <a:rPr lang="en-US" smtClean="0"/>
              <a:t>10/1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4186F3A-4614-43C1-8DAE-9518F2DC7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4"/>
            <a:ext cx="4769025" cy="24577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0B32D-AD1C-438E-BC41-93308B2179E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62541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middle &amp; half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4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351224" y="6323714"/>
            <a:ext cx="3661458" cy="24577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Title_half_left"/>
          <p:cNvSpPr>
            <a:spLocks noGrp="1"/>
          </p:cNvSpPr>
          <p:nvPr>
            <p:ph type="title"/>
          </p:nvPr>
        </p:nvSpPr>
        <p:spPr>
          <a:xfrm>
            <a:off x="605194" y="2652371"/>
            <a:ext cx="5245825" cy="1508105"/>
          </a:xfrm>
        </p:spPr>
        <p:txBody>
          <a:bodyPr anchor="ctr" anchorCtr="0"/>
          <a:lstStyle>
            <a:lvl1pPr algn="ctr">
              <a:defRPr sz="4599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E5AB6F-44FF-402A-813F-D93049EE6C5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F1B08F1D-FD90-4CE6-91BD-AB0C8653DDAA}" type="datetime1">
              <a:rPr lang="en-US" smtClean="0"/>
              <a:t>10/17/2024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365BB54-D9C9-40AD-9F36-2B2491737C0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99EAAB-0612-4F63-B714-4E51EBAE4B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069152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enter &amp; half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4" y="0"/>
            <a:ext cx="5840776" cy="6858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351224" y="6323714"/>
            <a:ext cx="3661458" cy="24577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Title_half_left"/>
          <p:cNvSpPr>
            <a:spLocks noGrp="1"/>
          </p:cNvSpPr>
          <p:nvPr>
            <p:ph type="title"/>
          </p:nvPr>
        </p:nvSpPr>
        <p:spPr>
          <a:xfrm>
            <a:off x="605194" y="1839568"/>
            <a:ext cx="5245825" cy="1508105"/>
          </a:xfrm>
        </p:spPr>
        <p:txBody>
          <a:bodyPr anchor="t" anchorCtr="0"/>
          <a:lstStyle>
            <a:lvl1pPr algn="ctr">
              <a:defRPr sz="4599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78E94A-CBAE-4789-8403-EABB3F3863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F53937CE-7242-495A-B4EF-4406A47FDCCA}" type="datetime1">
              <a:rPr lang="en-US" smtClean="0"/>
              <a:t>10/17/2024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7BF455-666A-4497-B079-97A2552DAD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D49AE49-73C4-4448-A916-A16E7B6237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58549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 backgroun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84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896ED2-8998-45EC-B37F-E645AEBA4D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50000" y="2454275"/>
            <a:ext cx="5238750" cy="2236788"/>
          </a:xfrm>
        </p:spPr>
        <p:txBody>
          <a:bodyPr>
            <a:no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66689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4363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1545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8727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IN" sz="3200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1459561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enter &amp; half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4" y="0"/>
            <a:ext cx="5840776" cy="6858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351224" y="6323714"/>
            <a:ext cx="3661458" cy="24577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Title_half_left"/>
          <p:cNvSpPr>
            <a:spLocks noGrp="1"/>
          </p:cNvSpPr>
          <p:nvPr>
            <p:ph type="title"/>
          </p:nvPr>
        </p:nvSpPr>
        <p:spPr>
          <a:xfrm>
            <a:off x="605194" y="2178237"/>
            <a:ext cx="5245825" cy="1508105"/>
          </a:xfrm>
        </p:spPr>
        <p:txBody>
          <a:bodyPr anchor="t" anchorCtr="0"/>
          <a:lstStyle>
            <a:lvl1pPr algn="ctr">
              <a:defRPr sz="4599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5D3F2F-0EA4-48C7-843F-E78DA73F1BF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F8523C42-CB19-4E99-ABFF-CCAFA1EE8799}" type="datetime1">
              <a:rPr lang="en-US" smtClean="0"/>
              <a:t>10/17/2024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2A3E365-F11D-4060-A6A2-608477ABAE0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A2B7853-DD6B-4749-BA6C-C2791226BA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657165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half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37460" y="505938"/>
            <a:ext cx="5245824" cy="107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51223" y="0"/>
            <a:ext cx="5840777" cy="6858000"/>
          </a:xfrm>
          <a:prstGeom prst="rect">
            <a:avLst/>
          </a:prstGeom>
          <a:solidFill>
            <a:schemeClr val="bg2"/>
          </a:solidFill>
          <a:ln w="0">
            <a:solidFill>
              <a:schemeClr val="bg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EBCD098-4D44-437E-B895-9352F280AD3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9D1D1E7-0E28-46EB-9D40-EE13B736C70B}" type="datetime1">
              <a:rPr lang="en-US" smtClean="0"/>
              <a:t>10/17/2024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F22748-A627-4E97-A3E7-6C00E43CCD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8B42487-CDD2-418A-A2A3-13E7867F1C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72926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Subtitle &amp; half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37460" y="505937"/>
            <a:ext cx="5245824" cy="600164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51223" y="0"/>
            <a:ext cx="5840777" cy="6858000"/>
          </a:xfrm>
          <a:prstGeom prst="rect">
            <a:avLst/>
          </a:prstGeom>
          <a:solidFill>
            <a:schemeClr val="bg2"/>
          </a:solidFill>
          <a:ln w="0">
            <a:solidFill>
              <a:schemeClr val="bg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5258610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61F96C5-3350-41E7-9935-541D8E55CBF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1F7A925-D532-40F9-93C9-32E426E13ABC}" type="datetime1">
              <a:rPr lang="en-US" smtClean="0"/>
              <a:t>10/17/2024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DE194D9-0741-4E27-B3E3-BCC4A9F59BC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6849D2A-A30B-4356-922F-72CA51FACC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478476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863600" y="1673955"/>
            <a:ext cx="4978400" cy="43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572956" y="1673955"/>
            <a:ext cx="4978400" cy="43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4DD618-DA0C-4B98-A734-B2100C4DE3F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56EC81-289E-43C0-9C4F-2908C792EBF2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23013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eb p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397000" y="1485900"/>
            <a:ext cx="6299200" cy="382905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587500" y="1803389"/>
            <a:ext cx="5922963" cy="3335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651353" y="1585914"/>
            <a:ext cx="3038476" cy="1838325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743600" y="1738314"/>
            <a:ext cx="2858400" cy="15954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651353" y="3381377"/>
            <a:ext cx="3038476" cy="1838325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7743600" y="3533777"/>
            <a:ext cx="2858400" cy="15954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5B1FEBC-DBE4-46E4-85A5-7821E881193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F1B6058-7F71-4640-82AE-BCB3CE99F072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19750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1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45600" y="1678734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370800" y="1678734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821200" y="1678734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1678734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889A59-B598-4605-94C7-790118509E9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F6895E9-B0F0-4A55-AA0B-ED66F52036F9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43353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1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859631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15543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571455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9427368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859631" y="4060425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3715543" y="4060425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8"/>
          </p:nvPr>
        </p:nvSpPr>
        <p:spPr>
          <a:xfrm>
            <a:off x="6571455" y="4060425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9427368" y="4060425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21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2649D5E-F6D0-4AA0-9127-CE8B8D68317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6FA22AA2-BAA0-4979-A76B-BFF5E5C09FC9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94290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614988" y="1671637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2762727" y="2785586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477726" y="2785586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92575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0159662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075194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442281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36DA9F-7CE5-43B5-8F53-462D33E0516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AC3FA4-453A-44C5-AEB6-DE6BEA76C9FB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197190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1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45600" y="1678733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4454268" y="1678733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0"/>
          </p:nvPr>
        </p:nvSpPr>
        <p:spPr>
          <a:xfrm>
            <a:off x="8262936" y="1678733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FAFC74-5FD3-4865-8C40-97BD719CA799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7E7184D2-ED22-42DE-9BD8-5196AA4D4C06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32911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1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6EF514-C482-4232-A3C4-2A64B27FDA7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498B82C-7F30-4595-AFA3-FFCE27E85CFD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151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&amp; half backgroun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991678"/>
            <a:ext cx="12192000" cy="38663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988EB7-C821-4EEA-B8AF-13B106E73F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7419" y="436120"/>
            <a:ext cx="1727322" cy="497469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896ED2-8998-45EC-B37F-E645AEBA4D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7260" y="341736"/>
            <a:ext cx="8638209" cy="1223460"/>
          </a:xfrm>
        </p:spPr>
        <p:txBody>
          <a:bodyPr>
            <a:no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66689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4363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1545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8727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IN" sz="3200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4476000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1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F54AED-ADE0-4FD9-A927-39235D4125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3C0B7A9-A279-4464-8745-9342EDFB474D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07718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siness Canv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33414" y="1679973"/>
            <a:ext cx="2147365" cy="2771775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849564" y="1679972"/>
            <a:ext cx="2122487" cy="1355328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849564" y="3096419"/>
            <a:ext cx="2122487" cy="1355328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040836" y="1679973"/>
            <a:ext cx="2109265" cy="2771775"/>
          </a:xfrm>
          <a:prstGeom prst="rect">
            <a:avLst/>
          </a:prstGeom>
          <a:solidFill>
            <a:schemeClr val="accent2"/>
          </a:solidFill>
          <a:ln w="0">
            <a:solidFill>
              <a:schemeClr val="accent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7218886" y="1679972"/>
            <a:ext cx="2122487" cy="1355328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7218886" y="3096419"/>
            <a:ext cx="2122487" cy="1355328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9412281" y="1679973"/>
            <a:ext cx="2147365" cy="2771775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633414" y="4514866"/>
            <a:ext cx="5430837" cy="1521985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6128809" y="4514866"/>
            <a:ext cx="5430837" cy="1521985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BEC102-29F4-44F4-9717-4F55C36451D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4217A0F-ABC9-4425-A630-96DA91D60F85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22799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center &amp;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42516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_center_white"/>
          <p:cNvSpPr>
            <a:spLocks noGrp="1"/>
          </p:cNvSpPr>
          <p:nvPr>
            <p:ph type="title"/>
          </p:nvPr>
        </p:nvSpPr>
        <p:spPr>
          <a:xfrm>
            <a:off x="537460" y="1393077"/>
            <a:ext cx="11117083" cy="853952"/>
          </a:xfrm>
        </p:spPr>
        <p:txBody>
          <a:bodyPr/>
          <a:lstStyle>
            <a:lvl1pPr algn="ctr">
              <a:lnSpc>
                <a:spcPct val="90000"/>
              </a:lnSpc>
              <a:defRPr sz="5499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9EAB10-2A06-46DB-9D61-651C4714BC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ECD3396-B72A-494C-96D9-414298449C1C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14772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12192000" cy="425132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6" name="Title_white"/>
          <p:cNvSpPr>
            <a:spLocks noGrp="1"/>
          </p:cNvSpPr>
          <p:nvPr>
            <p:ph type="title"/>
          </p:nvPr>
        </p:nvSpPr>
        <p:spPr>
          <a:xfrm>
            <a:off x="537460" y="507600"/>
            <a:ext cx="11117083" cy="584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_white"/>
          <p:cNvSpPr>
            <a:spLocks noGrp="1"/>
          </p:cNvSpPr>
          <p:nvPr>
            <p:ph type="body" sz="quarter" idx="14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rgbClr val="FFFFFF"/>
                </a:solidFill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E8390B-E553-4AFB-9D02-3A91A917F16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4E2F47A-2A80-41A5-902A-9AB488AA50AC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925326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4251960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_bottom"/>
          <p:cNvSpPr>
            <a:spLocks noGrp="1"/>
          </p:cNvSpPr>
          <p:nvPr>
            <p:ph type="title"/>
          </p:nvPr>
        </p:nvSpPr>
        <p:spPr>
          <a:xfrm>
            <a:off x="447288" y="4702149"/>
            <a:ext cx="3555570" cy="1569276"/>
          </a:xfrm>
        </p:spPr>
        <p:txBody>
          <a:bodyPr/>
          <a:lstStyle>
            <a:lvl1pPr algn="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7AD4B0-74D8-4A99-8D65-643E71AF4BF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5A314B9-F460-4593-8607-B49589152BD7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182BAD-05B8-4986-BB17-A1EEBE504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7CC83B-39BF-444E-9F0E-05AF20B460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0688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ottom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bottom"/>
          <p:cNvSpPr>
            <a:spLocks noGrp="1"/>
          </p:cNvSpPr>
          <p:nvPr>
            <p:ph type="title"/>
          </p:nvPr>
        </p:nvSpPr>
        <p:spPr>
          <a:xfrm>
            <a:off x="447288" y="4702149"/>
            <a:ext cx="3555570" cy="1569276"/>
          </a:xfrm>
        </p:spPr>
        <p:txBody>
          <a:bodyPr/>
          <a:lstStyle>
            <a:lvl1pPr algn="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Media Placeholder 5"/>
          <p:cNvSpPr>
            <a:spLocks noGrp="1"/>
          </p:cNvSpPr>
          <p:nvPr>
            <p:ph type="media" sz="quarter" idx="12"/>
          </p:nvPr>
        </p:nvSpPr>
        <p:spPr>
          <a:xfrm>
            <a:off x="0" y="1"/>
            <a:ext cx="12192000" cy="425132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B36426-6EC5-4026-9861-2E3B511F9B3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98D380-2973-43DC-B56E-3A087D988FFF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85965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half backgroun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6249771" y="507600"/>
            <a:ext cx="5245824" cy="107696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C285DA-4081-47B1-9802-35DB6744DC1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3F40F31-F943-4844-86B8-1DDC8EB4663A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D09ACD-7F31-45B9-830E-CB35153DEB8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4"/>
            <a:ext cx="4807125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AD63F7-AFCC-49EC-A106-B67FD146536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3719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Subtitle &amp; half backgroun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6249771" y="507600"/>
            <a:ext cx="5245824" cy="107696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Subtitle_half_right"/>
          <p:cNvSpPr>
            <a:spLocks noGrp="1"/>
          </p:cNvSpPr>
          <p:nvPr>
            <p:ph type="body" sz="quarter" idx="14" hasCustomPrompt="1"/>
          </p:nvPr>
        </p:nvSpPr>
        <p:spPr>
          <a:xfrm>
            <a:off x="6251401" y="925201"/>
            <a:ext cx="5258610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4B8A11-8D61-4C4F-97A4-733042DD642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CC3BC71-82A7-4B6F-B9E1-44D4E38147CB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992617-E2A3-4D69-A3DF-8DF4D293841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4"/>
            <a:ext cx="485475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54BCE30-C810-4694-95AD-55DD5391E41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515171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59" y="507600"/>
            <a:ext cx="10958541" cy="5846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931000" y="1540801"/>
            <a:ext cx="2790000" cy="4714509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44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141001" y="1539001"/>
            <a:ext cx="2790000" cy="4714509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65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7356000" y="1211170"/>
            <a:ext cx="3150000" cy="532283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7931597" y="2217364"/>
            <a:ext cx="1998806" cy="33104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9DEF6B-1CDC-48FB-B2FA-212E8F433ED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BF11580-14ED-4755-878A-BC8B1A8FA6F1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65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146000" y="13608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5610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926000" y="13608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5346001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8751000" y="13608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91692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31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683D3-6885-4096-8122-8A581B751BBE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A7348CD6-211C-40B7-B6D0-B7351B8C05C4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2489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&amp; half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51223" y="0"/>
            <a:ext cx="5840777" cy="6858000"/>
          </a:xfrm>
          <a:prstGeom prst="rect">
            <a:avLst/>
          </a:prstGeom>
          <a:solidFill>
            <a:schemeClr val="bg2"/>
          </a:solidFill>
          <a:ln w="0">
            <a:solidFill>
              <a:schemeClr val="bg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37461" y="505937"/>
            <a:ext cx="5245824" cy="600164"/>
          </a:xfrm>
        </p:spPr>
        <p:txBody>
          <a:bodyPr>
            <a:norm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5258610" cy="50906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61F96C5-3350-41E7-9935-541D8E55CBF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33745DC-A92C-4A0F-B3FD-C0F6CF788EE0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39824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651000" y="13590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106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3441000" y="13590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85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6366000" y="13590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Picture Placeholder 8"/>
          <p:cNvSpPr>
            <a:spLocks noGrp="1"/>
          </p:cNvSpPr>
          <p:nvPr>
            <p:ph type="pic" sz="quarter" idx="32"/>
          </p:nvPr>
        </p:nvSpPr>
        <p:spPr>
          <a:xfrm>
            <a:off x="6781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9291000" y="13590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970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504560-DEDE-4304-8564-D6CFB1921300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fld id="{872FAB01-06EE-4D19-AFD7-1EE866DBE889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07898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836000" y="1269001"/>
            <a:ext cx="2520000" cy="4469021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5299200" y="2124000"/>
            <a:ext cx="1598400" cy="279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99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65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7626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32"/>
          </p:nvPr>
        </p:nvSpPr>
        <p:spPr>
          <a:xfrm>
            <a:off x="992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56E03B-D1A3-49D7-BDA2-2B1C473B90CE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07FAC196-C01A-41CA-A0DD-777E82AF46E6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381493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441000" y="1224000"/>
            <a:ext cx="3015000" cy="52668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3985347" y="2217600"/>
            <a:ext cx="1926309" cy="329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736000" y="1224000"/>
            <a:ext cx="3015000" cy="52668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280347" y="2217600"/>
            <a:ext cx="1926309" cy="329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A95F-2646-46AB-92A0-FCDE59F0AF6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06190C3-BF27-4BC2-9438-0487DB209B65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736756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bile App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874400" y="1134000"/>
            <a:ext cx="2559600" cy="4510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3CBC50C-C444-4B7B-9C48-B452761CAA3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4405F5E-8403-4326-992C-F2FBB79495C1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E89BFC-ADBE-4018-AB63-D218070638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4"/>
            <a:ext cx="390225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3B3D78-2787-4EF7-B776-7FA4318D148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220656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bile App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00" y="0"/>
            <a:ext cx="5842000" cy="6858000"/>
          </a:xfrm>
          <a:prstGeom prst="rect">
            <a:avLst/>
          </a:prstGeom>
        </p:spPr>
      </p:pic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287200" y="1134000"/>
            <a:ext cx="2347200" cy="418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60" y="507600"/>
            <a:ext cx="5468541" cy="107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548720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E4D9D2-73BE-48E3-A286-419A1A9E7E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8CC9B5-0496-45A8-A223-C6F5B3064F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26D462-3FA9-4B2E-87C6-3FF170DC516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1946C0-2A18-4198-8A6E-B4F7A4D4569C}" type="datetime1">
              <a:rPr lang="en-US" smtClean="0"/>
              <a:t>10/17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5F73562-C31F-4EFD-92D8-787957F17CC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6350000" y="6323714"/>
            <a:ext cx="3662682" cy="24577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B2B0F2-80AA-46C0-832B-A7C809992C7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43285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665600" y="1249200"/>
            <a:ext cx="2862000" cy="51948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188194" y="2242800"/>
            <a:ext cx="1818000" cy="32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CDCFD83-29A0-4266-8E72-C7872FCA40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6808571-C696-49AF-A1C0-A1418D9CC0E5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5457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4"/>
          </p:nvPr>
        </p:nvSpPr>
        <p:spPr>
          <a:xfrm>
            <a:off x="8438400" y="1242001"/>
            <a:ext cx="2721600" cy="4899763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940800" y="2185037"/>
            <a:ext cx="1721485" cy="3072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894000" y="1000800"/>
            <a:ext cx="2988000" cy="53856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439027" y="2028826"/>
            <a:ext cx="1898648" cy="3352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6"/>
          </p:nvPr>
        </p:nvSpPr>
        <p:spPr>
          <a:xfrm>
            <a:off x="6057900" y="4183926"/>
            <a:ext cx="2114550" cy="2114983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8"/>
          <p:cNvSpPr>
            <a:spLocks noGrp="1" noChangeAspect="1"/>
          </p:cNvSpPr>
          <p:nvPr>
            <p:ph type="pic" sz="quarter" idx="17"/>
          </p:nvPr>
        </p:nvSpPr>
        <p:spPr>
          <a:xfrm>
            <a:off x="6393076" y="4519616"/>
            <a:ext cx="1444199" cy="1443600"/>
          </a:xfrm>
          <a:prstGeom prst="roundRect">
            <a:avLst>
              <a:gd name="adj" fmla="val 24561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4AD55B3-D661-491A-8908-26DA58DF016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89EDAE8-A4D8-4B91-AE46-DD839523BE4E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020691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App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1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59" y="507600"/>
            <a:ext cx="6028441" cy="107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8610600" y="442912"/>
            <a:ext cx="3489076" cy="58958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9246871" y="1569600"/>
            <a:ext cx="2214000" cy="367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565899" y="69850"/>
            <a:ext cx="3867785" cy="653573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268400" y="1317600"/>
            <a:ext cx="2462400" cy="4071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Subtitle_half_left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603584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9BB3C1-F184-4624-957C-11069899683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8A43644-69E1-49F1-B1BF-2CD15D26EF5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30770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t App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8256000" cy="6858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60" y="507600"/>
            <a:ext cx="5468541" cy="107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803000" y="604800"/>
            <a:ext cx="4233600" cy="568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8570698" y="1576373"/>
            <a:ext cx="2787605" cy="37502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770800" y="36000"/>
            <a:ext cx="4784400" cy="6631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20"/>
          </p:nvPr>
        </p:nvSpPr>
        <p:spPr>
          <a:xfrm>
            <a:off x="6541027" y="1169231"/>
            <a:ext cx="3249949" cy="43722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Subtitle_half_left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548720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EAD8AF-2D5F-41F9-A2CD-CC6CECFFB1B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3620EB3F-5B05-4E5E-9050-CED994F39965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172A04-22D3-430B-9A51-52297E6ACB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408CF4-5D69-473C-AD15-4EFAD292026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C21C60-F8F6-4713-9C3A-36A45EB422D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538131-5352-4760-982F-4CF68C1370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8461635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t Ap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222800" y="1263600"/>
            <a:ext cx="3758400" cy="5209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825586" y="2152650"/>
            <a:ext cx="2553531" cy="3435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7458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CA4C63E-82B6-45AE-8E1B-5834946546C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E49EDA47-ED89-4F5F-9DDC-800EF641AB9A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4377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F03B81E-CC90-411E-907D-CE60ACBAE6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51223" y="0"/>
            <a:ext cx="5840777" cy="6858000"/>
          </a:xfrm>
          <a:prstGeom prst="rect">
            <a:avLst/>
          </a:prstGeom>
          <a:solidFill>
            <a:schemeClr val="bg2"/>
          </a:solidFill>
          <a:ln w="0">
            <a:solidFill>
              <a:schemeClr val="bg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itle_half_left">
            <a:extLst>
              <a:ext uri="{FF2B5EF4-FFF2-40B4-BE49-F238E27FC236}">
                <a16:creationId xmlns:a16="http://schemas.microsoft.com/office/drawing/2014/main" id="{5BF4DA2A-5A7C-4029-B48B-32F5FE348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461" y="505937"/>
            <a:ext cx="5245824" cy="600164"/>
          </a:xfrm>
        </p:spPr>
        <p:txBody>
          <a:bodyPr>
            <a:norm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D3E6B4F-D21C-426D-B8FD-240BB68CAC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89654" y="6327574"/>
            <a:ext cx="464888" cy="238059"/>
          </a:xfrm>
        </p:spPr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5B33EF04-15F4-4247-858A-D0710FB043A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819400" y="6323715"/>
            <a:ext cx="7193282" cy="245776"/>
          </a:xfrm>
        </p:spPr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4" name="Subtitle_half_left">
            <a:extLst>
              <a:ext uri="{FF2B5EF4-FFF2-40B4-BE49-F238E27FC236}">
                <a16:creationId xmlns:a16="http://schemas.microsoft.com/office/drawing/2014/main" id="{3A41A42D-CD31-48F6-B386-50253686E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5258610" cy="50906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5" name="Date Placeholder 5">
            <a:extLst>
              <a:ext uri="{FF2B5EF4-FFF2-40B4-BE49-F238E27FC236}">
                <a16:creationId xmlns:a16="http://schemas.microsoft.com/office/drawing/2014/main" id="{B62C4CC1-23D3-424A-9A46-85D9CC8FCD4B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 flipH="1">
            <a:off x="10217150" y="6327578"/>
            <a:ext cx="866140" cy="238051"/>
          </a:xfrm>
        </p:spPr>
        <p:txBody>
          <a:bodyPr/>
          <a:lstStyle/>
          <a:p>
            <a:fld id="{633745DC-A92C-4A0F-B3FD-C0F6CF788EE0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36248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t App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8256000" cy="6858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60" y="507600"/>
            <a:ext cx="5468541" cy="107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5810400" y="43200"/>
            <a:ext cx="6382800" cy="658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7176000" y="909000"/>
            <a:ext cx="5016000" cy="48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ubtitle_half_left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548720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0B690F-AE10-4AC5-B742-38A87F78E8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FF356AB-D0D8-4167-B117-3B8AB329EC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D6D8294-CB5D-48A3-AF81-4EA0BC6DBA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AA89FFE-6428-436E-A74B-E28B334CE76E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A0D8B-DB9A-446B-ABAF-4EB4825BAA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F990A2-3A3F-47BA-AA36-8341BD8C796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922547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1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44400" y="349200"/>
            <a:ext cx="6148800" cy="59868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59" y="507600"/>
            <a:ext cx="6028441" cy="107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493000" y="984250"/>
            <a:ext cx="4699000" cy="4578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605870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78EDBA-32D1-4CAD-B6F5-A12817AA145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CCE68B2-ED50-458B-B218-1FB4FE43521F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466675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7200" y="1652400"/>
            <a:ext cx="7480800" cy="43848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435101" y="2120901"/>
            <a:ext cx="5340349" cy="3346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D71CA83-4C14-4F76-8A2E-4BC45FED97B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6104287-64EA-41FA-A6FA-058BE05CFF99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80066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30400" y="1411200"/>
            <a:ext cx="7930800" cy="469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861051" y="1911350"/>
            <a:ext cx="5664200" cy="3581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AE8933-31AB-4E36-AA2D-4C3A1404976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73211FB-FB19-4BD0-A59A-0365E89E1F36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19925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&amp; Mob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30400" y="1411200"/>
            <a:ext cx="7930800" cy="469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861051" y="1911350"/>
            <a:ext cx="5664200" cy="3581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335780" y="1958400"/>
            <a:ext cx="2473200" cy="44496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786238" y="2800350"/>
            <a:ext cx="1576462" cy="2781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6F0666-F520-4269-B254-69D901F7443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B74626A-F7B3-43A4-9936-8280890E213B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115033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owse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1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184400" y="360000"/>
            <a:ext cx="9806400" cy="596265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473200" y="842964"/>
            <a:ext cx="9242425" cy="5195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A86E8-732D-41AD-8CBC-E4BE91507AC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240E37E-161C-4AE0-BDD0-EA6D6500DC96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53106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ows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574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52800" y="878400"/>
            <a:ext cx="5868000" cy="5364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6000" y="1359000"/>
            <a:ext cx="5377846" cy="4625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5940000" y="878400"/>
            <a:ext cx="5868000" cy="5364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6186000" y="1359000"/>
            <a:ext cx="5377846" cy="4625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610001" y="324000"/>
            <a:ext cx="7048800" cy="60228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902178" y="859538"/>
            <a:ext cx="6478822" cy="5195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F243B8-8FCB-438F-B4A9-64F98C1EE60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56982A6-48FC-4D7D-BCEA-C476E633C8CA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49627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ows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7900" y="1384300"/>
            <a:ext cx="5765800" cy="46863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357939" y="1943100"/>
            <a:ext cx="5186361" cy="3854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85A0D-1399-471C-86C5-8E18B0508C2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F1811-F358-4741-9DB1-C20F8BC7DE4A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56492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right &amp; background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4352400" y="507600"/>
            <a:ext cx="5245824" cy="107696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924000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A7A1021-72FE-4849-8FC8-46B4E7178B7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ACC6A74-51B4-4403-94C3-8E196858BE43}" type="datetime1">
              <a:rPr lang="en-US" smtClean="0"/>
              <a:t>10/17/2024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460F29D-943C-41F2-97B7-2F5A06F8B78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924000" y="6323714"/>
            <a:ext cx="6088682" cy="245776"/>
          </a:xfrm>
        </p:spPr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01CC9B2-43F3-4F0B-BDC2-EA65D2E17AA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53050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obile App 4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59" y="507600"/>
            <a:ext cx="10958541" cy="5846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931000" y="1607476"/>
            <a:ext cx="2790000" cy="4714509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44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141001" y="1605675"/>
            <a:ext cx="2790000" cy="4714509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65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7358400" y="1274400"/>
            <a:ext cx="3150000" cy="532283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7931597" y="2217364"/>
            <a:ext cx="2005200" cy="331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9DEF6B-1CDC-48FB-B2FA-212E8F433ED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5FDC087-64DF-43D0-B04C-5C3BF2AB44F9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304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BB9A967-9DD9-4DD6-A720-46986134B1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0E654D-2240-4341-81DD-73958672DBB4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1618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863600" y="1673955"/>
            <a:ext cx="4978400" cy="43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572956" y="1673955"/>
            <a:ext cx="4978400" cy="43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4DD618-DA0C-4B98-A734-B2100C4DE3F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907078C-F32E-4ECB-B169-B11CE0F45842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24332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obile App 7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146000" y="13989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5610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926000" y="13989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5346001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8751000" y="13989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91692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31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683D3-6885-4096-8122-8A581B751BBE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06504E90-000E-43ED-878B-C7F6CF4E6C27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636802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Mobile App 5 with background Bla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8A7727A4-E3AA-4489-883B-576517C34F7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68000" y="-110973"/>
            <a:ext cx="4165601" cy="7143876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AA4663A8-D5A4-4567-A563-EEC35234C56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829176" y="1180800"/>
            <a:ext cx="2642400" cy="445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4C8198-3176-43B6-B2A5-EEF4659B527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0E574F-F912-4CE7-94AC-3AC49823130E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EE15FAE-F3F1-4CD1-801C-A61B589D016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>
          <a:xfrm>
            <a:off x="540000" y="6323714"/>
            <a:ext cx="3698625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3E3F21-A244-47EF-9779-9A4BFA417DE3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59430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obile App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665600" y="1325400"/>
            <a:ext cx="2862000" cy="51948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188194" y="2242800"/>
            <a:ext cx="1818000" cy="32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CDCFD83-29A0-4266-8E72-C7872FCA40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2800771-815A-4802-8072-2A320A6C6440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954499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ndroid App 1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59" y="507600"/>
            <a:ext cx="10958541" cy="5846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921475" y="1601999"/>
            <a:ext cx="2790000" cy="47124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446400" y="2440800"/>
            <a:ext cx="1771200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131475" y="1601999"/>
            <a:ext cx="2790000" cy="47124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65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7346475" y="1277845"/>
            <a:ext cx="3150000" cy="532283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7931597" y="2234616"/>
            <a:ext cx="2008800" cy="331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9DEF6B-1CDC-48FB-B2FA-212E8F433ED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370A0A9-7316-4D7C-B0EA-C36D60CA3BDB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16596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ndroid App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146000" y="13989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561000" y="2116800"/>
            <a:ext cx="1465200" cy="247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926000" y="13989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5346000" y="2116800"/>
            <a:ext cx="1465200" cy="247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8751000" y="1398900"/>
            <a:ext cx="2295000" cy="396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9169200" y="2116800"/>
            <a:ext cx="1465200" cy="247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31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683D3-6885-4096-8122-8A581B751BBE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35EA1E03-C6E1-417D-91CC-9F1B40FF1C5A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89968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ndroid App 6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647600" y="1314000"/>
            <a:ext cx="2862000" cy="51948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188194" y="2246400"/>
            <a:ext cx="1821600" cy="32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CDCFD83-29A0-4266-8E72-C7872FCA40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77B876C-57A5-4C3C-9F09-7C61A374EFD3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95133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ndroid App 9 with background Bla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000276" y="-277408"/>
            <a:ext cx="4293048" cy="7362446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88814" y="1060665"/>
            <a:ext cx="2721600" cy="4584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4E4678-EBB3-4501-8CC4-DFE6746AF7D0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75C31E4-6F5C-4525-B279-A07F86468373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AD85D8-9F14-40E9-B64A-4E7CB397FB0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>
          <a:xfrm>
            <a:off x="536400" y="6323714"/>
            <a:ext cx="3854625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F55B6F-DA1E-4729-A6E8-2FC903729F79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12111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ablet App 1 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8256000" cy="6858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60" y="507600"/>
            <a:ext cx="5468541" cy="107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801200" y="604800"/>
            <a:ext cx="4233600" cy="568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8578801" y="1576373"/>
            <a:ext cx="2787605" cy="37502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767200" y="36000"/>
            <a:ext cx="4784400" cy="6631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20"/>
          </p:nvPr>
        </p:nvSpPr>
        <p:spPr>
          <a:xfrm>
            <a:off x="6541025" y="1169231"/>
            <a:ext cx="3254400" cy="43722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Subtitle_half_left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548720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EAD8AF-2D5F-41F9-A2CD-CC6CECFFB1B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49A2F17-C4D6-478E-B4DF-F4EAAB39C37E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172A04-22D3-430B-9A51-52297E6ACB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408CF4-5D69-473C-AD15-4EFAD292026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89BBDCD-9F7E-45A6-8ED4-C677F7862A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0171A8EC-934D-41CF-AFBD-CF76DA5813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50577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let App 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219200" y="1263600"/>
            <a:ext cx="3758400" cy="5209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820399" y="2152650"/>
            <a:ext cx="2563200" cy="343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CA4C63E-82B6-45AE-8E1B-5834946546C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8F256F6-5AB2-4818-B195-813096A22E8B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46333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97252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 p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397000" y="1485900"/>
            <a:ext cx="6299200" cy="382905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587499" y="1803389"/>
            <a:ext cx="5922963" cy="3335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651354" y="1585913"/>
            <a:ext cx="3038476" cy="1838325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743600" y="1738313"/>
            <a:ext cx="2858400" cy="15954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651354" y="3381377"/>
            <a:ext cx="3038476" cy="1838325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7743600" y="3533777"/>
            <a:ext cx="2858400" cy="15954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5B1FEBC-DBE4-46E4-85A5-7821E881193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7498B25-32CE-4509-85BD-20E773D7796A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64704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87CF25C-82C5-4E39-9DBF-813F29A7D8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42603"/>
          <a:stretch/>
        </p:blipFill>
        <p:spPr>
          <a:xfrm>
            <a:off x="5191985" y="0"/>
            <a:ext cx="7000015" cy="6858000"/>
          </a:xfrm>
          <a:prstGeom prst="rect">
            <a:avLst/>
          </a:prstGeom>
        </p:spPr>
      </p:pic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93776" y="1837479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3776" y="4577566"/>
            <a:ext cx="5097324" cy="395756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07BD00-5D13-4A3C-90DA-C226C07456C8}"/>
              </a:ext>
            </a:extLst>
          </p:cNvPr>
          <p:cNvSpPr/>
          <p:nvPr/>
        </p:nvSpPr>
        <p:spPr>
          <a:xfrm>
            <a:off x="4909930" y="2223653"/>
            <a:ext cx="2514600" cy="1592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3599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493776" y="2397865"/>
            <a:ext cx="6996402" cy="1323439"/>
          </a:xfrm>
        </p:spPr>
        <p:txBody>
          <a:bodyPr/>
          <a:lstStyle>
            <a:lvl1pPr>
              <a:defRPr sz="3999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9881018-9257-4330-ACBD-1BA79AA27977}"/>
              </a:ext>
            </a:extLst>
          </p:cNvPr>
          <p:cNvSpPr/>
          <p:nvPr/>
        </p:nvSpPr>
        <p:spPr>
          <a:xfrm>
            <a:off x="3793657" y="601"/>
            <a:ext cx="2514600" cy="9933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3599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78D1809-26DB-4EAB-B9FE-A9F69EA3676B}"/>
              </a:ext>
            </a:extLst>
          </p:cNvPr>
          <p:cNvGrpSpPr/>
          <p:nvPr/>
        </p:nvGrpSpPr>
        <p:grpSpPr>
          <a:xfrm>
            <a:off x="493776" y="4255715"/>
            <a:ext cx="612430" cy="125486"/>
            <a:chOff x="575859" y="4778289"/>
            <a:chExt cx="887181" cy="181782"/>
          </a:xfrm>
          <a:solidFill>
            <a:schemeClr val="accent4"/>
          </a:solidFill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4E08BE1-618C-49D8-B7EF-C3C543F809DA}"/>
                </a:ext>
              </a:extLst>
            </p:cNvPr>
            <p:cNvSpPr/>
            <p:nvPr/>
          </p:nvSpPr>
          <p:spPr>
            <a:xfrm>
              <a:off x="575859" y="4778289"/>
              <a:ext cx="181782" cy="18178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3599">
                <a:solidFill>
                  <a:prstClr val="white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A3BF6B8-D820-4EF1-9D81-6550D585FB39}"/>
                </a:ext>
              </a:extLst>
            </p:cNvPr>
            <p:cNvSpPr/>
            <p:nvPr/>
          </p:nvSpPr>
          <p:spPr>
            <a:xfrm>
              <a:off x="845820" y="4788492"/>
              <a:ext cx="617220" cy="16137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3599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A045D3C-8236-4AEA-9D24-B742D74089AF}"/>
              </a:ext>
            </a:extLst>
          </p:cNvPr>
          <p:cNvGrpSpPr/>
          <p:nvPr/>
        </p:nvGrpSpPr>
        <p:grpSpPr>
          <a:xfrm>
            <a:off x="493777" y="668337"/>
            <a:ext cx="1833583" cy="527240"/>
            <a:chOff x="522288" y="496888"/>
            <a:chExt cx="866775" cy="249238"/>
          </a:xfrm>
          <a:solidFill>
            <a:schemeClr val="tx1"/>
          </a:solidFill>
        </p:grpSpPr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79A4EA13-CF31-48DE-96E1-28BADD2F2C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4100" y="500063"/>
              <a:ext cx="38100" cy="244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599">
                <a:solidFill>
                  <a:srgbClr val="000000"/>
                </a:solidFill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5A1E693-B34D-4A8B-9209-B9B03E4A1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500063"/>
              <a:ext cx="106363" cy="244475"/>
            </a:xfrm>
            <a:custGeom>
              <a:avLst/>
              <a:gdLst>
                <a:gd name="T0" fmla="*/ 0 w 67"/>
                <a:gd name="T1" fmla="*/ 0 h 154"/>
                <a:gd name="T2" fmla="*/ 0 w 67"/>
                <a:gd name="T3" fmla="*/ 22 h 154"/>
                <a:gd name="T4" fmla="*/ 44 w 67"/>
                <a:gd name="T5" fmla="*/ 22 h 154"/>
                <a:gd name="T6" fmla="*/ 44 w 67"/>
                <a:gd name="T7" fmla="*/ 154 h 154"/>
                <a:gd name="T8" fmla="*/ 67 w 67"/>
                <a:gd name="T9" fmla="*/ 154 h 154"/>
                <a:gd name="T10" fmla="*/ 67 w 67"/>
                <a:gd name="T11" fmla="*/ 22 h 154"/>
                <a:gd name="T12" fmla="*/ 67 w 67"/>
                <a:gd name="T13" fmla="*/ 0 h 154"/>
                <a:gd name="T14" fmla="*/ 0 w 67"/>
                <a:gd name="T1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154">
                  <a:moveTo>
                    <a:pt x="0" y="0"/>
                  </a:moveTo>
                  <a:lnTo>
                    <a:pt x="0" y="22"/>
                  </a:lnTo>
                  <a:lnTo>
                    <a:pt x="44" y="22"/>
                  </a:lnTo>
                  <a:lnTo>
                    <a:pt x="44" y="154"/>
                  </a:lnTo>
                  <a:lnTo>
                    <a:pt x="67" y="154"/>
                  </a:lnTo>
                  <a:lnTo>
                    <a:pt x="67" y="22"/>
                  </a:lnTo>
                  <a:lnTo>
                    <a:pt x="6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599">
                <a:solidFill>
                  <a:srgbClr val="000000"/>
                </a:solidFill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6B23526B-DCF2-4446-A8DF-97A4358555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575" y="500063"/>
              <a:ext cx="176213" cy="244475"/>
            </a:xfrm>
            <a:custGeom>
              <a:avLst/>
              <a:gdLst>
                <a:gd name="T0" fmla="*/ 411 w 471"/>
                <a:gd name="T1" fmla="*/ 58 h 648"/>
                <a:gd name="T2" fmla="*/ 249 w 471"/>
                <a:gd name="T3" fmla="*/ 0 h 648"/>
                <a:gd name="T4" fmla="*/ 0 w 471"/>
                <a:gd name="T5" fmla="*/ 0 h 648"/>
                <a:gd name="T6" fmla="*/ 0 w 471"/>
                <a:gd name="T7" fmla="*/ 648 h 648"/>
                <a:gd name="T8" fmla="*/ 101 w 471"/>
                <a:gd name="T9" fmla="*/ 648 h 648"/>
                <a:gd name="T10" fmla="*/ 101 w 471"/>
                <a:gd name="T11" fmla="*/ 422 h 648"/>
                <a:gd name="T12" fmla="*/ 242 w 471"/>
                <a:gd name="T13" fmla="*/ 422 h 648"/>
                <a:gd name="T14" fmla="*/ 409 w 471"/>
                <a:gd name="T15" fmla="*/ 365 h 648"/>
                <a:gd name="T16" fmla="*/ 471 w 471"/>
                <a:gd name="T17" fmla="*/ 210 h 648"/>
                <a:gd name="T18" fmla="*/ 411 w 471"/>
                <a:gd name="T19" fmla="*/ 58 h 648"/>
                <a:gd name="T20" fmla="*/ 365 w 471"/>
                <a:gd name="T21" fmla="*/ 210 h 648"/>
                <a:gd name="T22" fmla="*/ 331 w 471"/>
                <a:gd name="T23" fmla="*/ 296 h 648"/>
                <a:gd name="T24" fmla="*/ 233 w 471"/>
                <a:gd name="T25" fmla="*/ 327 h 648"/>
                <a:gd name="T26" fmla="*/ 101 w 471"/>
                <a:gd name="T27" fmla="*/ 327 h 648"/>
                <a:gd name="T28" fmla="*/ 101 w 471"/>
                <a:gd name="T29" fmla="*/ 95 h 648"/>
                <a:gd name="T30" fmla="*/ 239 w 471"/>
                <a:gd name="T31" fmla="*/ 95 h 648"/>
                <a:gd name="T32" fmla="*/ 331 w 471"/>
                <a:gd name="T33" fmla="*/ 126 h 648"/>
                <a:gd name="T34" fmla="*/ 365 w 471"/>
                <a:gd name="T35" fmla="*/ 21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1" h="648">
                  <a:moveTo>
                    <a:pt x="411" y="58"/>
                  </a:moveTo>
                  <a:cubicBezTo>
                    <a:pt x="370" y="20"/>
                    <a:pt x="316" y="0"/>
                    <a:pt x="24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48"/>
                    <a:pt x="0" y="648"/>
                    <a:pt x="0" y="648"/>
                  </a:cubicBezTo>
                  <a:cubicBezTo>
                    <a:pt x="101" y="648"/>
                    <a:pt x="101" y="648"/>
                    <a:pt x="101" y="648"/>
                  </a:cubicBezTo>
                  <a:cubicBezTo>
                    <a:pt x="101" y="422"/>
                    <a:pt x="101" y="422"/>
                    <a:pt x="101" y="422"/>
                  </a:cubicBezTo>
                  <a:cubicBezTo>
                    <a:pt x="242" y="422"/>
                    <a:pt x="242" y="422"/>
                    <a:pt x="242" y="422"/>
                  </a:cubicBezTo>
                  <a:cubicBezTo>
                    <a:pt x="313" y="422"/>
                    <a:pt x="369" y="403"/>
                    <a:pt x="409" y="365"/>
                  </a:cubicBezTo>
                  <a:cubicBezTo>
                    <a:pt x="450" y="327"/>
                    <a:pt x="471" y="275"/>
                    <a:pt x="471" y="210"/>
                  </a:cubicBezTo>
                  <a:cubicBezTo>
                    <a:pt x="471" y="148"/>
                    <a:pt x="451" y="97"/>
                    <a:pt x="411" y="58"/>
                  </a:cubicBezTo>
                  <a:moveTo>
                    <a:pt x="365" y="210"/>
                  </a:moveTo>
                  <a:cubicBezTo>
                    <a:pt x="365" y="247"/>
                    <a:pt x="354" y="276"/>
                    <a:pt x="331" y="296"/>
                  </a:cubicBezTo>
                  <a:cubicBezTo>
                    <a:pt x="308" y="317"/>
                    <a:pt x="275" y="327"/>
                    <a:pt x="233" y="327"/>
                  </a:cubicBezTo>
                  <a:cubicBezTo>
                    <a:pt x="101" y="327"/>
                    <a:pt x="101" y="327"/>
                    <a:pt x="101" y="32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78" y="95"/>
                    <a:pt x="309" y="106"/>
                    <a:pt x="331" y="126"/>
                  </a:cubicBezTo>
                  <a:cubicBezTo>
                    <a:pt x="354" y="146"/>
                    <a:pt x="365" y="174"/>
                    <a:pt x="365" y="2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599">
                <a:solidFill>
                  <a:srgbClr val="000000"/>
                </a:solidFill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55C3E40B-FD7B-49C5-A50A-33AFAB8ED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463" y="500063"/>
              <a:ext cx="182563" cy="244475"/>
            </a:xfrm>
            <a:custGeom>
              <a:avLst/>
              <a:gdLst>
                <a:gd name="T0" fmla="*/ 53 w 115"/>
                <a:gd name="T1" fmla="*/ 75 h 154"/>
                <a:gd name="T2" fmla="*/ 115 w 115"/>
                <a:gd name="T3" fmla="*/ 0 h 154"/>
                <a:gd name="T4" fmla="*/ 86 w 115"/>
                <a:gd name="T5" fmla="*/ 0 h 154"/>
                <a:gd name="T6" fmla="*/ 34 w 115"/>
                <a:gd name="T7" fmla="*/ 64 h 154"/>
                <a:gd name="T8" fmla="*/ 34 w 115"/>
                <a:gd name="T9" fmla="*/ 64 h 154"/>
                <a:gd name="T10" fmla="*/ 33 w 115"/>
                <a:gd name="T11" fmla="*/ 64 h 154"/>
                <a:gd name="T12" fmla="*/ 24 w 115"/>
                <a:gd name="T13" fmla="*/ 64 h 154"/>
                <a:gd name="T14" fmla="*/ 24 w 115"/>
                <a:gd name="T15" fmla="*/ 51 h 154"/>
                <a:gd name="T16" fmla="*/ 24 w 115"/>
                <a:gd name="T17" fmla="*/ 19 h 154"/>
                <a:gd name="T18" fmla="*/ 24 w 115"/>
                <a:gd name="T19" fmla="*/ 0 h 154"/>
                <a:gd name="T20" fmla="*/ 23 w 115"/>
                <a:gd name="T21" fmla="*/ 0 h 154"/>
                <a:gd name="T22" fmla="*/ 0 w 115"/>
                <a:gd name="T23" fmla="*/ 0 h 154"/>
                <a:gd name="T24" fmla="*/ 0 w 115"/>
                <a:gd name="T25" fmla="*/ 19 h 154"/>
                <a:gd name="T26" fmla="*/ 0 w 115"/>
                <a:gd name="T27" fmla="*/ 51 h 154"/>
                <a:gd name="T28" fmla="*/ 0 w 115"/>
                <a:gd name="T29" fmla="*/ 64 h 154"/>
                <a:gd name="T30" fmla="*/ 0 w 115"/>
                <a:gd name="T31" fmla="*/ 86 h 154"/>
                <a:gd name="T32" fmla="*/ 0 w 115"/>
                <a:gd name="T33" fmla="*/ 109 h 154"/>
                <a:gd name="T34" fmla="*/ 24 w 115"/>
                <a:gd name="T35" fmla="*/ 109 h 154"/>
                <a:gd name="T36" fmla="*/ 24 w 115"/>
                <a:gd name="T37" fmla="*/ 86 h 154"/>
                <a:gd name="T38" fmla="*/ 34 w 115"/>
                <a:gd name="T39" fmla="*/ 86 h 154"/>
                <a:gd name="T40" fmla="*/ 44 w 115"/>
                <a:gd name="T41" fmla="*/ 98 h 154"/>
                <a:gd name="T42" fmla="*/ 88 w 115"/>
                <a:gd name="T43" fmla="*/ 154 h 154"/>
                <a:gd name="T44" fmla="*/ 115 w 115"/>
                <a:gd name="T45" fmla="*/ 154 h 154"/>
                <a:gd name="T46" fmla="*/ 53 w 115"/>
                <a:gd name="T47" fmla="*/ 7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5" h="154">
                  <a:moveTo>
                    <a:pt x="53" y="75"/>
                  </a:moveTo>
                  <a:lnTo>
                    <a:pt x="115" y="0"/>
                  </a:lnTo>
                  <a:lnTo>
                    <a:pt x="86" y="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3" y="64"/>
                  </a:lnTo>
                  <a:lnTo>
                    <a:pt x="24" y="64"/>
                  </a:lnTo>
                  <a:lnTo>
                    <a:pt x="24" y="51"/>
                  </a:lnTo>
                  <a:lnTo>
                    <a:pt x="24" y="19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51"/>
                  </a:lnTo>
                  <a:lnTo>
                    <a:pt x="0" y="64"/>
                  </a:lnTo>
                  <a:lnTo>
                    <a:pt x="0" y="86"/>
                  </a:lnTo>
                  <a:lnTo>
                    <a:pt x="0" y="109"/>
                  </a:lnTo>
                  <a:lnTo>
                    <a:pt x="24" y="109"/>
                  </a:lnTo>
                  <a:lnTo>
                    <a:pt x="24" y="86"/>
                  </a:lnTo>
                  <a:lnTo>
                    <a:pt x="34" y="86"/>
                  </a:lnTo>
                  <a:lnTo>
                    <a:pt x="44" y="98"/>
                  </a:lnTo>
                  <a:lnTo>
                    <a:pt x="88" y="154"/>
                  </a:lnTo>
                  <a:lnTo>
                    <a:pt x="115" y="154"/>
                  </a:lnTo>
                  <a:lnTo>
                    <a:pt x="53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599">
                <a:solidFill>
                  <a:srgbClr val="000000"/>
                </a:solidFill>
              </a:endParaRPr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0ABD8C8-DA77-4033-9AF1-7EBB5B37E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613" y="496888"/>
              <a:ext cx="44450" cy="42863"/>
            </a:xfrm>
            <a:custGeom>
              <a:avLst/>
              <a:gdLst>
                <a:gd name="T0" fmla="*/ 73 w 119"/>
                <a:gd name="T1" fmla="*/ 4 h 114"/>
                <a:gd name="T2" fmla="*/ 30 w 119"/>
                <a:gd name="T3" fmla="*/ 9 h 114"/>
                <a:gd name="T4" fmla="*/ 4 w 119"/>
                <a:gd name="T5" fmla="*/ 43 h 114"/>
                <a:gd name="T6" fmla="*/ 9 w 119"/>
                <a:gd name="T7" fmla="*/ 85 h 114"/>
                <a:gd name="T8" fmla="*/ 43 w 119"/>
                <a:gd name="T9" fmla="*/ 112 h 114"/>
                <a:gd name="T10" fmla="*/ 57 w 119"/>
                <a:gd name="T11" fmla="*/ 114 h 114"/>
                <a:gd name="T12" fmla="*/ 111 w 119"/>
                <a:gd name="T13" fmla="*/ 73 h 114"/>
                <a:gd name="T14" fmla="*/ 73 w 119"/>
                <a:gd name="T15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114">
                  <a:moveTo>
                    <a:pt x="73" y="4"/>
                  </a:moveTo>
                  <a:cubicBezTo>
                    <a:pt x="59" y="0"/>
                    <a:pt x="44" y="2"/>
                    <a:pt x="30" y="9"/>
                  </a:cubicBezTo>
                  <a:cubicBezTo>
                    <a:pt x="17" y="17"/>
                    <a:pt x="8" y="29"/>
                    <a:pt x="4" y="43"/>
                  </a:cubicBezTo>
                  <a:cubicBezTo>
                    <a:pt x="0" y="57"/>
                    <a:pt x="1" y="72"/>
                    <a:pt x="9" y="85"/>
                  </a:cubicBezTo>
                  <a:cubicBezTo>
                    <a:pt x="16" y="98"/>
                    <a:pt x="28" y="107"/>
                    <a:pt x="43" y="112"/>
                  </a:cubicBezTo>
                  <a:cubicBezTo>
                    <a:pt x="48" y="113"/>
                    <a:pt x="52" y="114"/>
                    <a:pt x="57" y="114"/>
                  </a:cubicBezTo>
                  <a:cubicBezTo>
                    <a:pt x="81" y="114"/>
                    <a:pt x="104" y="97"/>
                    <a:pt x="111" y="73"/>
                  </a:cubicBezTo>
                  <a:cubicBezTo>
                    <a:pt x="119" y="44"/>
                    <a:pt x="102" y="12"/>
                    <a:pt x="73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599">
                <a:solidFill>
                  <a:srgbClr val="000000"/>
                </a:solidFill>
              </a:endParaRPr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87159288-A5ED-4305-8773-CBBE6AB13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88" y="703263"/>
              <a:ext cx="42863" cy="42863"/>
            </a:xfrm>
            <a:custGeom>
              <a:avLst/>
              <a:gdLst>
                <a:gd name="T0" fmla="*/ 74 w 115"/>
                <a:gd name="T1" fmla="*/ 4 h 114"/>
                <a:gd name="T2" fmla="*/ 31 w 115"/>
                <a:gd name="T3" fmla="*/ 9 h 114"/>
                <a:gd name="T4" fmla="*/ 4 w 115"/>
                <a:gd name="T5" fmla="*/ 43 h 114"/>
                <a:gd name="T6" fmla="*/ 9 w 115"/>
                <a:gd name="T7" fmla="*/ 85 h 114"/>
                <a:gd name="T8" fmla="*/ 43 w 115"/>
                <a:gd name="T9" fmla="*/ 112 h 114"/>
                <a:gd name="T10" fmla="*/ 58 w 115"/>
                <a:gd name="T11" fmla="*/ 114 h 114"/>
                <a:gd name="T12" fmla="*/ 111 w 115"/>
                <a:gd name="T13" fmla="*/ 74 h 114"/>
                <a:gd name="T14" fmla="*/ 106 w 115"/>
                <a:gd name="T15" fmla="*/ 31 h 114"/>
                <a:gd name="T16" fmla="*/ 74 w 115"/>
                <a:gd name="T17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14">
                  <a:moveTo>
                    <a:pt x="74" y="4"/>
                  </a:moveTo>
                  <a:cubicBezTo>
                    <a:pt x="59" y="0"/>
                    <a:pt x="44" y="2"/>
                    <a:pt x="31" y="9"/>
                  </a:cubicBezTo>
                  <a:cubicBezTo>
                    <a:pt x="18" y="17"/>
                    <a:pt x="8" y="29"/>
                    <a:pt x="4" y="43"/>
                  </a:cubicBezTo>
                  <a:cubicBezTo>
                    <a:pt x="0" y="57"/>
                    <a:pt x="2" y="72"/>
                    <a:pt x="9" y="85"/>
                  </a:cubicBezTo>
                  <a:cubicBezTo>
                    <a:pt x="17" y="98"/>
                    <a:pt x="29" y="108"/>
                    <a:pt x="43" y="112"/>
                  </a:cubicBezTo>
                  <a:cubicBezTo>
                    <a:pt x="48" y="113"/>
                    <a:pt x="53" y="114"/>
                    <a:pt x="58" y="114"/>
                  </a:cubicBezTo>
                  <a:cubicBezTo>
                    <a:pt x="82" y="114"/>
                    <a:pt x="105" y="98"/>
                    <a:pt x="111" y="74"/>
                  </a:cubicBezTo>
                  <a:cubicBezTo>
                    <a:pt x="115" y="59"/>
                    <a:pt x="114" y="44"/>
                    <a:pt x="106" y="31"/>
                  </a:cubicBezTo>
                  <a:cubicBezTo>
                    <a:pt x="99" y="18"/>
                    <a:pt x="88" y="8"/>
                    <a:pt x="74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599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57638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DC6AB9-8AB9-4FE9-8C42-F0F32AFF10C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7A48C5F-D37E-4063-B48E-D4453B1E6657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17225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273791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BB9A967-9DD9-4DD6-A720-46986134B1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CC9410-46B5-453B-B729-44FDCC9A24CB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5024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0" y="1041188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4D5A60B-5A4F-4245-9544-AE2B3D8C1375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850950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2874981"/>
            <a:ext cx="5976937" cy="2729847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4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8" y="5680970"/>
            <a:ext cx="4564758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3" y="3903681"/>
            <a:ext cx="5452036" cy="1623155"/>
          </a:xfrm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E5CC6E-16C7-4467-A9C0-AC40766B86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013" y="3182894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590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ttom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bottom"/>
          <p:cNvSpPr>
            <a:spLocks noGrp="1"/>
          </p:cNvSpPr>
          <p:nvPr>
            <p:ph type="title"/>
          </p:nvPr>
        </p:nvSpPr>
        <p:spPr>
          <a:xfrm>
            <a:off x="537459" y="4376267"/>
            <a:ext cx="11117083" cy="800219"/>
          </a:xfrm>
        </p:spPr>
        <p:txBody>
          <a:bodyPr/>
          <a:lstStyle>
            <a:lvl1pPr>
              <a:defRPr sz="46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0820E8D-C14D-4C0B-BD6B-8F88D7BAADE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199C4D1-5FEE-48CC-8014-2DDF03807B7B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74A7328-CA38-4B1B-B573-1B0774D3AC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DFC39A8-2928-4641-814D-B19F9B6E95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291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3001960"/>
            <a:ext cx="11117083" cy="1892826"/>
          </a:xfrm>
        </p:spPr>
        <p:txBody>
          <a:bodyPr anchor="t" anchorCtr="0"/>
          <a:lstStyle>
            <a:lvl1pPr algn="ctr">
              <a:lnSpc>
                <a:spcPct val="90000"/>
              </a:lnSpc>
              <a:defRPr sz="6500" b="0" spc="0" baseline="0">
                <a:solidFill>
                  <a:srgbClr val="FFFFFF"/>
                </a:solidFill>
                <a:latin typeface="Work Sans Medium" panose="020B0706030804020204" pitchFamily="34" charset="0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3201FB-FE53-4F0B-8FDF-C2DEEA8F96B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69B8AD-F5ED-401A-9AFE-759FAC0F7902}" type="datetime1">
              <a:rPr lang="en-US" smtClean="0"/>
              <a:t>10/17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420328C-B50E-4E5B-A023-F1DFCF9F6B1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CCC5429-3FEC-4B5F-A188-C895E743664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314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F54AED-ADE0-4FD9-A927-39235D4125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528B9F8-E224-4CC1-8E0F-E22049BFC8CD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154689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Opening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4" y="0"/>
            <a:ext cx="584077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04751" y="2817264"/>
            <a:ext cx="5245824" cy="14764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3D586E-F233-48FE-A780-BB4D0BED11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6896" y="4383088"/>
            <a:ext cx="5243679" cy="367816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BDFC6F-3286-4A3D-A782-EF139340A1F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751" y="464694"/>
            <a:ext cx="1727322" cy="49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659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456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3708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8212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889A59-B598-4605-94C7-790118509E9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2CCC8A0-FB94-419F-B453-3518575B4D33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65477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DC6AB9-8AB9-4FE9-8C42-F0F32AFF10C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B50815C-6963-4238-AA0B-D7A440C9F125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77053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8567844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BB9A967-9DD9-4DD6-A720-46986134B1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62C5A2-6945-4AF1-A69C-25707748F204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74487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0" y="1041188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1E50F14-4F60-427F-BADE-ABAFFE8511B2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151920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0" y="1041188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4C739CB-28AB-4BCF-A7AB-C1016B146553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36575" y="1641352"/>
            <a:ext cx="11117263" cy="43133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3180437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A6BACF-7090-44BF-97BE-663BB3AB658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B731219-727D-4722-80B4-31A051025B14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247A4BB-C49F-46C1-BC09-CB54BF7D332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7CD851-88CA-4B66-B127-8E6BFAD2CE2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903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550881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4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7" y="3517414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2" y="1579581"/>
            <a:ext cx="4577005" cy="1623155"/>
          </a:xfrm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1B7C1B9-2095-4997-AB3E-0290BD55F2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012" y="769975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212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6286500" y="550881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4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6499" y="3517414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6582054" y="1579581"/>
            <a:ext cx="4577005" cy="1623155"/>
          </a:xfrm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7379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2669241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4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7" y="5635774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2" y="3697941"/>
            <a:ext cx="4577005" cy="1623155"/>
          </a:xfrm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22392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6286500" y="2669241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4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6499" y="5635774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6582054" y="3697941"/>
            <a:ext cx="4577005" cy="1623155"/>
          </a:xfrm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BB6D16-F747-419C-9060-5243FEE6BA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2054" y="3035641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588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859631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15543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571455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9427368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859631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3715543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8"/>
          </p:nvPr>
        </p:nvSpPr>
        <p:spPr>
          <a:xfrm>
            <a:off x="6571455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9427368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21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2649D5E-F6D0-4AA0-9127-CE8B8D68317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0E041046-454C-4C55-88A2-B96D334CFACF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95630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2874981"/>
            <a:ext cx="5976937" cy="2729847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4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8" y="5680970"/>
            <a:ext cx="4564758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3" y="3903681"/>
            <a:ext cx="5452036" cy="1623155"/>
          </a:xfrm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E5CC6E-16C7-4467-A9C0-AC40766B86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013" y="3182894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06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AC14F98-EB08-4070-A49C-A8A25D76B6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838D46C-1FA0-4C20-A3A5-A71F44DAB3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59" y="2404367"/>
            <a:ext cx="11117083" cy="707886"/>
          </a:xfrm>
        </p:spPr>
        <p:txBody>
          <a:bodyPr/>
          <a:lstStyle>
            <a:lvl1pPr>
              <a:defRPr sz="40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37459" y="1837478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4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9" y="4305453"/>
            <a:ext cx="4356100" cy="309562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0749003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Ope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21EBD52-9DDE-4C3D-BF91-2DD57BB3A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37458" y="1837478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4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8" y="4519220"/>
            <a:ext cx="5097324" cy="395756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07BD00-5D13-4A3C-90DA-C226C07456C8}"/>
              </a:ext>
            </a:extLst>
          </p:cNvPr>
          <p:cNvSpPr/>
          <p:nvPr userDrawn="1"/>
        </p:nvSpPr>
        <p:spPr>
          <a:xfrm>
            <a:off x="5635487" y="1938130"/>
            <a:ext cx="921028" cy="944218"/>
          </a:xfrm>
          <a:prstGeom prst="rect">
            <a:avLst/>
          </a:prstGeom>
          <a:solidFill>
            <a:srgbClr val="2121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58" y="2404367"/>
            <a:ext cx="6996402" cy="1720372"/>
          </a:xfrm>
        </p:spPr>
        <p:txBody>
          <a:bodyPr/>
          <a:lstStyle>
            <a:lvl1pPr>
              <a:defRPr sz="40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BB25C1C-6629-4BA4-9851-F12F6AFDD6B6}"/>
              </a:ext>
            </a:extLst>
          </p:cNvPr>
          <p:cNvGrpSpPr/>
          <p:nvPr userDrawn="1"/>
        </p:nvGrpSpPr>
        <p:grpSpPr>
          <a:xfrm>
            <a:off x="537458" y="4255715"/>
            <a:ext cx="612430" cy="125486"/>
            <a:chOff x="575859" y="4778289"/>
            <a:chExt cx="887181" cy="181782"/>
          </a:xfrm>
          <a:solidFill>
            <a:schemeClr val="accent4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F9D0966-B22F-47C2-BA2B-ECBA03B6232D}"/>
                </a:ext>
              </a:extLst>
            </p:cNvPr>
            <p:cNvSpPr/>
            <p:nvPr/>
          </p:nvSpPr>
          <p:spPr>
            <a:xfrm>
              <a:off x="575859" y="4778289"/>
              <a:ext cx="181782" cy="18178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prstClr val="white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14F64AA-4A70-49BD-9FA1-7F42629FCA3C}"/>
                </a:ext>
              </a:extLst>
            </p:cNvPr>
            <p:cNvSpPr/>
            <p:nvPr/>
          </p:nvSpPr>
          <p:spPr>
            <a:xfrm>
              <a:off x="845820" y="4788492"/>
              <a:ext cx="617220" cy="16137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prstClr val="white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E003E77-5EC9-4043-82E6-DA753DA68411}"/>
              </a:ext>
            </a:extLst>
          </p:cNvPr>
          <p:cNvGrpSpPr/>
          <p:nvPr userDrawn="1"/>
        </p:nvGrpSpPr>
        <p:grpSpPr>
          <a:xfrm>
            <a:off x="537458" y="668337"/>
            <a:ext cx="1833583" cy="527240"/>
            <a:chOff x="522288" y="496888"/>
            <a:chExt cx="866775" cy="249238"/>
          </a:xfrm>
          <a:solidFill>
            <a:schemeClr val="accent2"/>
          </a:solidFill>
        </p:grpSpPr>
        <p:sp>
          <p:nvSpPr>
            <p:cNvPr id="17" name="Rectangle 5">
              <a:extLst>
                <a:ext uri="{FF2B5EF4-FFF2-40B4-BE49-F238E27FC236}">
                  <a16:creationId xmlns:a16="http://schemas.microsoft.com/office/drawing/2014/main" id="{D171461C-7E11-4727-BC70-1A3E99B78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4100" y="500063"/>
              <a:ext cx="38100" cy="244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DCB1985-1E91-4176-A736-EDBF686BA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500063"/>
              <a:ext cx="106363" cy="244475"/>
            </a:xfrm>
            <a:custGeom>
              <a:avLst/>
              <a:gdLst>
                <a:gd name="T0" fmla="*/ 0 w 67"/>
                <a:gd name="T1" fmla="*/ 0 h 154"/>
                <a:gd name="T2" fmla="*/ 0 w 67"/>
                <a:gd name="T3" fmla="*/ 22 h 154"/>
                <a:gd name="T4" fmla="*/ 44 w 67"/>
                <a:gd name="T5" fmla="*/ 22 h 154"/>
                <a:gd name="T6" fmla="*/ 44 w 67"/>
                <a:gd name="T7" fmla="*/ 154 h 154"/>
                <a:gd name="T8" fmla="*/ 67 w 67"/>
                <a:gd name="T9" fmla="*/ 154 h 154"/>
                <a:gd name="T10" fmla="*/ 67 w 67"/>
                <a:gd name="T11" fmla="*/ 22 h 154"/>
                <a:gd name="T12" fmla="*/ 67 w 67"/>
                <a:gd name="T13" fmla="*/ 0 h 154"/>
                <a:gd name="T14" fmla="*/ 0 w 67"/>
                <a:gd name="T1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154">
                  <a:moveTo>
                    <a:pt x="0" y="0"/>
                  </a:moveTo>
                  <a:lnTo>
                    <a:pt x="0" y="22"/>
                  </a:lnTo>
                  <a:lnTo>
                    <a:pt x="44" y="22"/>
                  </a:lnTo>
                  <a:lnTo>
                    <a:pt x="44" y="154"/>
                  </a:lnTo>
                  <a:lnTo>
                    <a:pt x="67" y="154"/>
                  </a:lnTo>
                  <a:lnTo>
                    <a:pt x="67" y="22"/>
                  </a:lnTo>
                  <a:lnTo>
                    <a:pt x="6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BA7B760-C9CC-4119-BE9E-1F211E9518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575" y="500063"/>
              <a:ext cx="176213" cy="244475"/>
            </a:xfrm>
            <a:custGeom>
              <a:avLst/>
              <a:gdLst>
                <a:gd name="T0" fmla="*/ 411 w 471"/>
                <a:gd name="T1" fmla="*/ 58 h 648"/>
                <a:gd name="T2" fmla="*/ 249 w 471"/>
                <a:gd name="T3" fmla="*/ 0 h 648"/>
                <a:gd name="T4" fmla="*/ 0 w 471"/>
                <a:gd name="T5" fmla="*/ 0 h 648"/>
                <a:gd name="T6" fmla="*/ 0 w 471"/>
                <a:gd name="T7" fmla="*/ 648 h 648"/>
                <a:gd name="T8" fmla="*/ 101 w 471"/>
                <a:gd name="T9" fmla="*/ 648 h 648"/>
                <a:gd name="T10" fmla="*/ 101 w 471"/>
                <a:gd name="T11" fmla="*/ 422 h 648"/>
                <a:gd name="T12" fmla="*/ 242 w 471"/>
                <a:gd name="T13" fmla="*/ 422 h 648"/>
                <a:gd name="T14" fmla="*/ 409 w 471"/>
                <a:gd name="T15" fmla="*/ 365 h 648"/>
                <a:gd name="T16" fmla="*/ 471 w 471"/>
                <a:gd name="T17" fmla="*/ 210 h 648"/>
                <a:gd name="T18" fmla="*/ 411 w 471"/>
                <a:gd name="T19" fmla="*/ 58 h 648"/>
                <a:gd name="T20" fmla="*/ 365 w 471"/>
                <a:gd name="T21" fmla="*/ 210 h 648"/>
                <a:gd name="T22" fmla="*/ 331 w 471"/>
                <a:gd name="T23" fmla="*/ 296 h 648"/>
                <a:gd name="T24" fmla="*/ 233 w 471"/>
                <a:gd name="T25" fmla="*/ 327 h 648"/>
                <a:gd name="T26" fmla="*/ 101 w 471"/>
                <a:gd name="T27" fmla="*/ 327 h 648"/>
                <a:gd name="T28" fmla="*/ 101 w 471"/>
                <a:gd name="T29" fmla="*/ 95 h 648"/>
                <a:gd name="T30" fmla="*/ 239 w 471"/>
                <a:gd name="T31" fmla="*/ 95 h 648"/>
                <a:gd name="T32" fmla="*/ 331 w 471"/>
                <a:gd name="T33" fmla="*/ 126 h 648"/>
                <a:gd name="T34" fmla="*/ 365 w 471"/>
                <a:gd name="T35" fmla="*/ 21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1" h="648">
                  <a:moveTo>
                    <a:pt x="411" y="58"/>
                  </a:moveTo>
                  <a:cubicBezTo>
                    <a:pt x="370" y="20"/>
                    <a:pt x="316" y="0"/>
                    <a:pt x="24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48"/>
                    <a:pt x="0" y="648"/>
                    <a:pt x="0" y="648"/>
                  </a:cubicBezTo>
                  <a:cubicBezTo>
                    <a:pt x="101" y="648"/>
                    <a:pt x="101" y="648"/>
                    <a:pt x="101" y="648"/>
                  </a:cubicBezTo>
                  <a:cubicBezTo>
                    <a:pt x="101" y="422"/>
                    <a:pt x="101" y="422"/>
                    <a:pt x="101" y="422"/>
                  </a:cubicBezTo>
                  <a:cubicBezTo>
                    <a:pt x="242" y="422"/>
                    <a:pt x="242" y="422"/>
                    <a:pt x="242" y="422"/>
                  </a:cubicBezTo>
                  <a:cubicBezTo>
                    <a:pt x="313" y="422"/>
                    <a:pt x="369" y="403"/>
                    <a:pt x="409" y="365"/>
                  </a:cubicBezTo>
                  <a:cubicBezTo>
                    <a:pt x="450" y="327"/>
                    <a:pt x="471" y="275"/>
                    <a:pt x="471" y="210"/>
                  </a:cubicBezTo>
                  <a:cubicBezTo>
                    <a:pt x="471" y="148"/>
                    <a:pt x="451" y="97"/>
                    <a:pt x="411" y="58"/>
                  </a:cubicBezTo>
                  <a:moveTo>
                    <a:pt x="365" y="210"/>
                  </a:moveTo>
                  <a:cubicBezTo>
                    <a:pt x="365" y="247"/>
                    <a:pt x="354" y="276"/>
                    <a:pt x="331" y="296"/>
                  </a:cubicBezTo>
                  <a:cubicBezTo>
                    <a:pt x="308" y="317"/>
                    <a:pt x="275" y="327"/>
                    <a:pt x="233" y="327"/>
                  </a:cubicBezTo>
                  <a:cubicBezTo>
                    <a:pt x="101" y="327"/>
                    <a:pt x="101" y="327"/>
                    <a:pt x="101" y="32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78" y="95"/>
                    <a:pt x="309" y="106"/>
                    <a:pt x="331" y="126"/>
                  </a:cubicBezTo>
                  <a:cubicBezTo>
                    <a:pt x="354" y="146"/>
                    <a:pt x="365" y="174"/>
                    <a:pt x="365" y="2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9D52E03-D7AD-4990-8226-88567044F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463" y="500063"/>
              <a:ext cx="182563" cy="244475"/>
            </a:xfrm>
            <a:custGeom>
              <a:avLst/>
              <a:gdLst>
                <a:gd name="T0" fmla="*/ 53 w 115"/>
                <a:gd name="T1" fmla="*/ 75 h 154"/>
                <a:gd name="T2" fmla="*/ 115 w 115"/>
                <a:gd name="T3" fmla="*/ 0 h 154"/>
                <a:gd name="T4" fmla="*/ 86 w 115"/>
                <a:gd name="T5" fmla="*/ 0 h 154"/>
                <a:gd name="T6" fmla="*/ 34 w 115"/>
                <a:gd name="T7" fmla="*/ 64 h 154"/>
                <a:gd name="T8" fmla="*/ 34 w 115"/>
                <a:gd name="T9" fmla="*/ 64 h 154"/>
                <a:gd name="T10" fmla="*/ 33 w 115"/>
                <a:gd name="T11" fmla="*/ 64 h 154"/>
                <a:gd name="T12" fmla="*/ 24 w 115"/>
                <a:gd name="T13" fmla="*/ 64 h 154"/>
                <a:gd name="T14" fmla="*/ 24 w 115"/>
                <a:gd name="T15" fmla="*/ 51 h 154"/>
                <a:gd name="T16" fmla="*/ 24 w 115"/>
                <a:gd name="T17" fmla="*/ 19 h 154"/>
                <a:gd name="T18" fmla="*/ 24 w 115"/>
                <a:gd name="T19" fmla="*/ 0 h 154"/>
                <a:gd name="T20" fmla="*/ 23 w 115"/>
                <a:gd name="T21" fmla="*/ 0 h 154"/>
                <a:gd name="T22" fmla="*/ 0 w 115"/>
                <a:gd name="T23" fmla="*/ 0 h 154"/>
                <a:gd name="T24" fmla="*/ 0 w 115"/>
                <a:gd name="T25" fmla="*/ 19 h 154"/>
                <a:gd name="T26" fmla="*/ 0 w 115"/>
                <a:gd name="T27" fmla="*/ 51 h 154"/>
                <a:gd name="T28" fmla="*/ 0 w 115"/>
                <a:gd name="T29" fmla="*/ 64 h 154"/>
                <a:gd name="T30" fmla="*/ 0 w 115"/>
                <a:gd name="T31" fmla="*/ 86 h 154"/>
                <a:gd name="T32" fmla="*/ 0 w 115"/>
                <a:gd name="T33" fmla="*/ 109 h 154"/>
                <a:gd name="T34" fmla="*/ 24 w 115"/>
                <a:gd name="T35" fmla="*/ 109 h 154"/>
                <a:gd name="T36" fmla="*/ 24 w 115"/>
                <a:gd name="T37" fmla="*/ 86 h 154"/>
                <a:gd name="T38" fmla="*/ 34 w 115"/>
                <a:gd name="T39" fmla="*/ 86 h 154"/>
                <a:gd name="T40" fmla="*/ 44 w 115"/>
                <a:gd name="T41" fmla="*/ 98 h 154"/>
                <a:gd name="T42" fmla="*/ 88 w 115"/>
                <a:gd name="T43" fmla="*/ 154 h 154"/>
                <a:gd name="T44" fmla="*/ 115 w 115"/>
                <a:gd name="T45" fmla="*/ 154 h 154"/>
                <a:gd name="T46" fmla="*/ 53 w 115"/>
                <a:gd name="T47" fmla="*/ 7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5" h="154">
                  <a:moveTo>
                    <a:pt x="53" y="75"/>
                  </a:moveTo>
                  <a:lnTo>
                    <a:pt x="115" y="0"/>
                  </a:lnTo>
                  <a:lnTo>
                    <a:pt x="86" y="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3" y="64"/>
                  </a:lnTo>
                  <a:lnTo>
                    <a:pt x="24" y="64"/>
                  </a:lnTo>
                  <a:lnTo>
                    <a:pt x="24" y="51"/>
                  </a:lnTo>
                  <a:lnTo>
                    <a:pt x="24" y="19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51"/>
                  </a:lnTo>
                  <a:lnTo>
                    <a:pt x="0" y="64"/>
                  </a:lnTo>
                  <a:lnTo>
                    <a:pt x="0" y="86"/>
                  </a:lnTo>
                  <a:lnTo>
                    <a:pt x="0" y="109"/>
                  </a:lnTo>
                  <a:lnTo>
                    <a:pt x="24" y="109"/>
                  </a:lnTo>
                  <a:lnTo>
                    <a:pt x="24" y="86"/>
                  </a:lnTo>
                  <a:lnTo>
                    <a:pt x="34" y="86"/>
                  </a:lnTo>
                  <a:lnTo>
                    <a:pt x="44" y="98"/>
                  </a:lnTo>
                  <a:lnTo>
                    <a:pt x="88" y="154"/>
                  </a:lnTo>
                  <a:lnTo>
                    <a:pt x="115" y="154"/>
                  </a:lnTo>
                  <a:lnTo>
                    <a:pt x="53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D48C1F2-89B1-4202-8201-04D58C387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613" y="496888"/>
              <a:ext cx="44450" cy="42863"/>
            </a:xfrm>
            <a:custGeom>
              <a:avLst/>
              <a:gdLst>
                <a:gd name="T0" fmla="*/ 73 w 119"/>
                <a:gd name="T1" fmla="*/ 4 h 114"/>
                <a:gd name="T2" fmla="*/ 30 w 119"/>
                <a:gd name="T3" fmla="*/ 9 h 114"/>
                <a:gd name="T4" fmla="*/ 4 w 119"/>
                <a:gd name="T5" fmla="*/ 43 h 114"/>
                <a:gd name="T6" fmla="*/ 9 w 119"/>
                <a:gd name="T7" fmla="*/ 85 h 114"/>
                <a:gd name="T8" fmla="*/ 43 w 119"/>
                <a:gd name="T9" fmla="*/ 112 h 114"/>
                <a:gd name="T10" fmla="*/ 57 w 119"/>
                <a:gd name="T11" fmla="*/ 114 h 114"/>
                <a:gd name="T12" fmla="*/ 111 w 119"/>
                <a:gd name="T13" fmla="*/ 73 h 114"/>
                <a:gd name="T14" fmla="*/ 73 w 119"/>
                <a:gd name="T15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114">
                  <a:moveTo>
                    <a:pt x="73" y="4"/>
                  </a:moveTo>
                  <a:cubicBezTo>
                    <a:pt x="59" y="0"/>
                    <a:pt x="44" y="2"/>
                    <a:pt x="30" y="9"/>
                  </a:cubicBezTo>
                  <a:cubicBezTo>
                    <a:pt x="17" y="17"/>
                    <a:pt x="8" y="29"/>
                    <a:pt x="4" y="43"/>
                  </a:cubicBezTo>
                  <a:cubicBezTo>
                    <a:pt x="0" y="57"/>
                    <a:pt x="1" y="72"/>
                    <a:pt x="9" y="85"/>
                  </a:cubicBezTo>
                  <a:cubicBezTo>
                    <a:pt x="16" y="98"/>
                    <a:pt x="28" y="107"/>
                    <a:pt x="43" y="112"/>
                  </a:cubicBezTo>
                  <a:cubicBezTo>
                    <a:pt x="48" y="113"/>
                    <a:pt x="52" y="114"/>
                    <a:pt x="57" y="114"/>
                  </a:cubicBezTo>
                  <a:cubicBezTo>
                    <a:pt x="81" y="114"/>
                    <a:pt x="104" y="97"/>
                    <a:pt x="111" y="73"/>
                  </a:cubicBezTo>
                  <a:cubicBezTo>
                    <a:pt x="119" y="44"/>
                    <a:pt x="102" y="12"/>
                    <a:pt x="73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83419930-EB06-420C-9C85-6453A218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88" y="703263"/>
              <a:ext cx="42863" cy="42863"/>
            </a:xfrm>
            <a:custGeom>
              <a:avLst/>
              <a:gdLst>
                <a:gd name="T0" fmla="*/ 74 w 115"/>
                <a:gd name="T1" fmla="*/ 4 h 114"/>
                <a:gd name="T2" fmla="*/ 31 w 115"/>
                <a:gd name="T3" fmla="*/ 9 h 114"/>
                <a:gd name="T4" fmla="*/ 4 w 115"/>
                <a:gd name="T5" fmla="*/ 43 h 114"/>
                <a:gd name="T6" fmla="*/ 9 w 115"/>
                <a:gd name="T7" fmla="*/ 85 h 114"/>
                <a:gd name="T8" fmla="*/ 43 w 115"/>
                <a:gd name="T9" fmla="*/ 112 h 114"/>
                <a:gd name="T10" fmla="*/ 58 w 115"/>
                <a:gd name="T11" fmla="*/ 114 h 114"/>
                <a:gd name="T12" fmla="*/ 111 w 115"/>
                <a:gd name="T13" fmla="*/ 74 h 114"/>
                <a:gd name="T14" fmla="*/ 106 w 115"/>
                <a:gd name="T15" fmla="*/ 31 h 114"/>
                <a:gd name="T16" fmla="*/ 74 w 115"/>
                <a:gd name="T17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14">
                  <a:moveTo>
                    <a:pt x="74" y="4"/>
                  </a:moveTo>
                  <a:cubicBezTo>
                    <a:pt x="59" y="0"/>
                    <a:pt x="44" y="2"/>
                    <a:pt x="31" y="9"/>
                  </a:cubicBezTo>
                  <a:cubicBezTo>
                    <a:pt x="18" y="17"/>
                    <a:pt x="8" y="29"/>
                    <a:pt x="4" y="43"/>
                  </a:cubicBezTo>
                  <a:cubicBezTo>
                    <a:pt x="0" y="57"/>
                    <a:pt x="2" y="72"/>
                    <a:pt x="9" y="85"/>
                  </a:cubicBezTo>
                  <a:cubicBezTo>
                    <a:pt x="17" y="98"/>
                    <a:pt x="29" y="108"/>
                    <a:pt x="43" y="112"/>
                  </a:cubicBezTo>
                  <a:cubicBezTo>
                    <a:pt x="48" y="113"/>
                    <a:pt x="53" y="114"/>
                    <a:pt x="58" y="114"/>
                  </a:cubicBezTo>
                  <a:cubicBezTo>
                    <a:pt x="82" y="114"/>
                    <a:pt x="105" y="98"/>
                    <a:pt x="111" y="74"/>
                  </a:cubicBezTo>
                  <a:cubicBezTo>
                    <a:pt x="115" y="59"/>
                    <a:pt x="114" y="44"/>
                    <a:pt x="106" y="31"/>
                  </a:cubicBezTo>
                  <a:cubicBezTo>
                    <a:pt x="99" y="18"/>
                    <a:pt x="88" y="8"/>
                    <a:pt x="74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395837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87CF25C-82C5-4E39-9DBF-813F29A7D8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5191984" y="0"/>
            <a:ext cx="7000015" cy="6858000"/>
          </a:xfrm>
          <a:prstGeom prst="rect">
            <a:avLst/>
          </a:prstGeom>
        </p:spPr>
      </p:pic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93776" y="1837478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3776" y="4577566"/>
            <a:ext cx="5097324" cy="395756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07BD00-5D13-4A3C-90DA-C226C07456C8}"/>
              </a:ext>
            </a:extLst>
          </p:cNvPr>
          <p:cNvSpPr/>
          <p:nvPr userDrawn="1"/>
        </p:nvSpPr>
        <p:spPr>
          <a:xfrm>
            <a:off x="4909930" y="2223652"/>
            <a:ext cx="2514600" cy="1592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493776" y="2397864"/>
            <a:ext cx="6996402" cy="1323439"/>
          </a:xfrm>
        </p:spPr>
        <p:txBody>
          <a:bodyPr/>
          <a:lstStyle>
            <a:lvl1pPr>
              <a:defRPr sz="4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9881018-9257-4330-ACBD-1BA79AA27977}"/>
              </a:ext>
            </a:extLst>
          </p:cNvPr>
          <p:cNvSpPr/>
          <p:nvPr userDrawn="1"/>
        </p:nvSpPr>
        <p:spPr>
          <a:xfrm>
            <a:off x="3793657" y="600"/>
            <a:ext cx="2514600" cy="9933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78D1809-26DB-4EAB-B9FE-A9F69EA3676B}"/>
              </a:ext>
            </a:extLst>
          </p:cNvPr>
          <p:cNvGrpSpPr/>
          <p:nvPr userDrawn="1"/>
        </p:nvGrpSpPr>
        <p:grpSpPr>
          <a:xfrm>
            <a:off x="493776" y="4255715"/>
            <a:ext cx="612430" cy="125486"/>
            <a:chOff x="575859" y="4778289"/>
            <a:chExt cx="887181" cy="181782"/>
          </a:xfrm>
          <a:solidFill>
            <a:schemeClr val="accent4"/>
          </a:solidFill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4E08BE1-618C-49D8-B7EF-C3C543F809DA}"/>
                </a:ext>
              </a:extLst>
            </p:cNvPr>
            <p:cNvSpPr/>
            <p:nvPr/>
          </p:nvSpPr>
          <p:spPr>
            <a:xfrm>
              <a:off x="575859" y="4778289"/>
              <a:ext cx="181782" cy="18178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prstClr val="white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A3BF6B8-D820-4EF1-9D81-6550D585FB39}"/>
                </a:ext>
              </a:extLst>
            </p:cNvPr>
            <p:cNvSpPr/>
            <p:nvPr/>
          </p:nvSpPr>
          <p:spPr>
            <a:xfrm>
              <a:off x="845820" y="4788492"/>
              <a:ext cx="617220" cy="16137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A045D3C-8236-4AEA-9D24-B742D74089AF}"/>
              </a:ext>
            </a:extLst>
          </p:cNvPr>
          <p:cNvGrpSpPr/>
          <p:nvPr userDrawn="1"/>
        </p:nvGrpSpPr>
        <p:grpSpPr>
          <a:xfrm>
            <a:off x="493776" y="668337"/>
            <a:ext cx="1833583" cy="527240"/>
            <a:chOff x="522288" y="496888"/>
            <a:chExt cx="866775" cy="249238"/>
          </a:xfrm>
          <a:solidFill>
            <a:schemeClr val="tx1"/>
          </a:solidFill>
        </p:grpSpPr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79A4EA13-CF31-48DE-96E1-28BADD2F2C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4100" y="500063"/>
              <a:ext cx="38100" cy="244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5A1E693-B34D-4A8B-9209-B9B03E4A1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500063"/>
              <a:ext cx="106363" cy="244475"/>
            </a:xfrm>
            <a:custGeom>
              <a:avLst/>
              <a:gdLst>
                <a:gd name="T0" fmla="*/ 0 w 67"/>
                <a:gd name="T1" fmla="*/ 0 h 154"/>
                <a:gd name="T2" fmla="*/ 0 w 67"/>
                <a:gd name="T3" fmla="*/ 22 h 154"/>
                <a:gd name="T4" fmla="*/ 44 w 67"/>
                <a:gd name="T5" fmla="*/ 22 h 154"/>
                <a:gd name="T6" fmla="*/ 44 w 67"/>
                <a:gd name="T7" fmla="*/ 154 h 154"/>
                <a:gd name="T8" fmla="*/ 67 w 67"/>
                <a:gd name="T9" fmla="*/ 154 h 154"/>
                <a:gd name="T10" fmla="*/ 67 w 67"/>
                <a:gd name="T11" fmla="*/ 22 h 154"/>
                <a:gd name="T12" fmla="*/ 67 w 67"/>
                <a:gd name="T13" fmla="*/ 0 h 154"/>
                <a:gd name="T14" fmla="*/ 0 w 67"/>
                <a:gd name="T1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154">
                  <a:moveTo>
                    <a:pt x="0" y="0"/>
                  </a:moveTo>
                  <a:lnTo>
                    <a:pt x="0" y="22"/>
                  </a:lnTo>
                  <a:lnTo>
                    <a:pt x="44" y="22"/>
                  </a:lnTo>
                  <a:lnTo>
                    <a:pt x="44" y="154"/>
                  </a:lnTo>
                  <a:lnTo>
                    <a:pt x="67" y="154"/>
                  </a:lnTo>
                  <a:lnTo>
                    <a:pt x="67" y="22"/>
                  </a:lnTo>
                  <a:lnTo>
                    <a:pt x="6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6B23526B-DCF2-4446-A8DF-97A4358555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575" y="500063"/>
              <a:ext cx="176213" cy="244475"/>
            </a:xfrm>
            <a:custGeom>
              <a:avLst/>
              <a:gdLst>
                <a:gd name="T0" fmla="*/ 411 w 471"/>
                <a:gd name="T1" fmla="*/ 58 h 648"/>
                <a:gd name="T2" fmla="*/ 249 w 471"/>
                <a:gd name="T3" fmla="*/ 0 h 648"/>
                <a:gd name="T4" fmla="*/ 0 w 471"/>
                <a:gd name="T5" fmla="*/ 0 h 648"/>
                <a:gd name="T6" fmla="*/ 0 w 471"/>
                <a:gd name="T7" fmla="*/ 648 h 648"/>
                <a:gd name="T8" fmla="*/ 101 w 471"/>
                <a:gd name="T9" fmla="*/ 648 h 648"/>
                <a:gd name="T10" fmla="*/ 101 w 471"/>
                <a:gd name="T11" fmla="*/ 422 h 648"/>
                <a:gd name="T12" fmla="*/ 242 w 471"/>
                <a:gd name="T13" fmla="*/ 422 h 648"/>
                <a:gd name="T14" fmla="*/ 409 w 471"/>
                <a:gd name="T15" fmla="*/ 365 h 648"/>
                <a:gd name="T16" fmla="*/ 471 w 471"/>
                <a:gd name="T17" fmla="*/ 210 h 648"/>
                <a:gd name="T18" fmla="*/ 411 w 471"/>
                <a:gd name="T19" fmla="*/ 58 h 648"/>
                <a:gd name="T20" fmla="*/ 365 w 471"/>
                <a:gd name="T21" fmla="*/ 210 h 648"/>
                <a:gd name="T22" fmla="*/ 331 w 471"/>
                <a:gd name="T23" fmla="*/ 296 h 648"/>
                <a:gd name="T24" fmla="*/ 233 w 471"/>
                <a:gd name="T25" fmla="*/ 327 h 648"/>
                <a:gd name="T26" fmla="*/ 101 w 471"/>
                <a:gd name="T27" fmla="*/ 327 h 648"/>
                <a:gd name="T28" fmla="*/ 101 w 471"/>
                <a:gd name="T29" fmla="*/ 95 h 648"/>
                <a:gd name="T30" fmla="*/ 239 w 471"/>
                <a:gd name="T31" fmla="*/ 95 h 648"/>
                <a:gd name="T32" fmla="*/ 331 w 471"/>
                <a:gd name="T33" fmla="*/ 126 h 648"/>
                <a:gd name="T34" fmla="*/ 365 w 471"/>
                <a:gd name="T35" fmla="*/ 21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1" h="648">
                  <a:moveTo>
                    <a:pt x="411" y="58"/>
                  </a:moveTo>
                  <a:cubicBezTo>
                    <a:pt x="370" y="20"/>
                    <a:pt x="316" y="0"/>
                    <a:pt x="24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48"/>
                    <a:pt x="0" y="648"/>
                    <a:pt x="0" y="648"/>
                  </a:cubicBezTo>
                  <a:cubicBezTo>
                    <a:pt x="101" y="648"/>
                    <a:pt x="101" y="648"/>
                    <a:pt x="101" y="648"/>
                  </a:cubicBezTo>
                  <a:cubicBezTo>
                    <a:pt x="101" y="422"/>
                    <a:pt x="101" y="422"/>
                    <a:pt x="101" y="422"/>
                  </a:cubicBezTo>
                  <a:cubicBezTo>
                    <a:pt x="242" y="422"/>
                    <a:pt x="242" y="422"/>
                    <a:pt x="242" y="422"/>
                  </a:cubicBezTo>
                  <a:cubicBezTo>
                    <a:pt x="313" y="422"/>
                    <a:pt x="369" y="403"/>
                    <a:pt x="409" y="365"/>
                  </a:cubicBezTo>
                  <a:cubicBezTo>
                    <a:pt x="450" y="327"/>
                    <a:pt x="471" y="275"/>
                    <a:pt x="471" y="210"/>
                  </a:cubicBezTo>
                  <a:cubicBezTo>
                    <a:pt x="471" y="148"/>
                    <a:pt x="451" y="97"/>
                    <a:pt x="411" y="58"/>
                  </a:cubicBezTo>
                  <a:moveTo>
                    <a:pt x="365" y="210"/>
                  </a:moveTo>
                  <a:cubicBezTo>
                    <a:pt x="365" y="247"/>
                    <a:pt x="354" y="276"/>
                    <a:pt x="331" y="296"/>
                  </a:cubicBezTo>
                  <a:cubicBezTo>
                    <a:pt x="308" y="317"/>
                    <a:pt x="275" y="327"/>
                    <a:pt x="233" y="327"/>
                  </a:cubicBezTo>
                  <a:cubicBezTo>
                    <a:pt x="101" y="327"/>
                    <a:pt x="101" y="327"/>
                    <a:pt x="101" y="32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78" y="95"/>
                    <a:pt x="309" y="106"/>
                    <a:pt x="331" y="126"/>
                  </a:cubicBezTo>
                  <a:cubicBezTo>
                    <a:pt x="354" y="146"/>
                    <a:pt x="365" y="174"/>
                    <a:pt x="365" y="2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55C3E40B-FD7B-49C5-A50A-33AFAB8ED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463" y="500063"/>
              <a:ext cx="182563" cy="244475"/>
            </a:xfrm>
            <a:custGeom>
              <a:avLst/>
              <a:gdLst>
                <a:gd name="T0" fmla="*/ 53 w 115"/>
                <a:gd name="T1" fmla="*/ 75 h 154"/>
                <a:gd name="T2" fmla="*/ 115 w 115"/>
                <a:gd name="T3" fmla="*/ 0 h 154"/>
                <a:gd name="T4" fmla="*/ 86 w 115"/>
                <a:gd name="T5" fmla="*/ 0 h 154"/>
                <a:gd name="T6" fmla="*/ 34 w 115"/>
                <a:gd name="T7" fmla="*/ 64 h 154"/>
                <a:gd name="T8" fmla="*/ 34 w 115"/>
                <a:gd name="T9" fmla="*/ 64 h 154"/>
                <a:gd name="T10" fmla="*/ 33 w 115"/>
                <a:gd name="T11" fmla="*/ 64 h 154"/>
                <a:gd name="T12" fmla="*/ 24 w 115"/>
                <a:gd name="T13" fmla="*/ 64 h 154"/>
                <a:gd name="T14" fmla="*/ 24 w 115"/>
                <a:gd name="T15" fmla="*/ 51 h 154"/>
                <a:gd name="T16" fmla="*/ 24 w 115"/>
                <a:gd name="T17" fmla="*/ 19 h 154"/>
                <a:gd name="T18" fmla="*/ 24 w 115"/>
                <a:gd name="T19" fmla="*/ 0 h 154"/>
                <a:gd name="T20" fmla="*/ 23 w 115"/>
                <a:gd name="T21" fmla="*/ 0 h 154"/>
                <a:gd name="T22" fmla="*/ 0 w 115"/>
                <a:gd name="T23" fmla="*/ 0 h 154"/>
                <a:gd name="T24" fmla="*/ 0 w 115"/>
                <a:gd name="T25" fmla="*/ 19 h 154"/>
                <a:gd name="T26" fmla="*/ 0 w 115"/>
                <a:gd name="T27" fmla="*/ 51 h 154"/>
                <a:gd name="T28" fmla="*/ 0 w 115"/>
                <a:gd name="T29" fmla="*/ 64 h 154"/>
                <a:gd name="T30" fmla="*/ 0 w 115"/>
                <a:gd name="T31" fmla="*/ 86 h 154"/>
                <a:gd name="T32" fmla="*/ 0 w 115"/>
                <a:gd name="T33" fmla="*/ 109 h 154"/>
                <a:gd name="T34" fmla="*/ 24 w 115"/>
                <a:gd name="T35" fmla="*/ 109 h 154"/>
                <a:gd name="T36" fmla="*/ 24 w 115"/>
                <a:gd name="T37" fmla="*/ 86 h 154"/>
                <a:gd name="T38" fmla="*/ 34 w 115"/>
                <a:gd name="T39" fmla="*/ 86 h 154"/>
                <a:gd name="T40" fmla="*/ 44 w 115"/>
                <a:gd name="T41" fmla="*/ 98 h 154"/>
                <a:gd name="T42" fmla="*/ 88 w 115"/>
                <a:gd name="T43" fmla="*/ 154 h 154"/>
                <a:gd name="T44" fmla="*/ 115 w 115"/>
                <a:gd name="T45" fmla="*/ 154 h 154"/>
                <a:gd name="T46" fmla="*/ 53 w 115"/>
                <a:gd name="T47" fmla="*/ 7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5" h="154">
                  <a:moveTo>
                    <a:pt x="53" y="75"/>
                  </a:moveTo>
                  <a:lnTo>
                    <a:pt x="115" y="0"/>
                  </a:lnTo>
                  <a:lnTo>
                    <a:pt x="86" y="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3" y="64"/>
                  </a:lnTo>
                  <a:lnTo>
                    <a:pt x="24" y="64"/>
                  </a:lnTo>
                  <a:lnTo>
                    <a:pt x="24" y="51"/>
                  </a:lnTo>
                  <a:lnTo>
                    <a:pt x="24" y="19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51"/>
                  </a:lnTo>
                  <a:lnTo>
                    <a:pt x="0" y="64"/>
                  </a:lnTo>
                  <a:lnTo>
                    <a:pt x="0" y="86"/>
                  </a:lnTo>
                  <a:lnTo>
                    <a:pt x="0" y="109"/>
                  </a:lnTo>
                  <a:lnTo>
                    <a:pt x="24" y="109"/>
                  </a:lnTo>
                  <a:lnTo>
                    <a:pt x="24" y="86"/>
                  </a:lnTo>
                  <a:lnTo>
                    <a:pt x="34" y="86"/>
                  </a:lnTo>
                  <a:lnTo>
                    <a:pt x="44" y="98"/>
                  </a:lnTo>
                  <a:lnTo>
                    <a:pt x="88" y="154"/>
                  </a:lnTo>
                  <a:lnTo>
                    <a:pt x="115" y="154"/>
                  </a:lnTo>
                  <a:lnTo>
                    <a:pt x="53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0ABD8C8-DA77-4033-9AF1-7EBB5B37E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613" y="496888"/>
              <a:ext cx="44450" cy="42863"/>
            </a:xfrm>
            <a:custGeom>
              <a:avLst/>
              <a:gdLst>
                <a:gd name="T0" fmla="*/ 73 w 119"/>
                <a:gd name="T1" fmla="*/ 4 h 114"/>
                <a:gd name="T2" fmla="*/ 30 w 119"/>
                <a:gd name="T3" fmla="*/ 9 h 114"/>
                <a:gd name="T4" fmla="*/ 4 w 119"/>
                <a:gd name="T5" fmla="*/ 43 h 114"/>
                <a:gd name="T6" fmla="*/ 9 w 119"/>
                <a:gd name="T7" fmla="*/ 85 h 114"/>
                <a:gd name="T8" fmla="*/ 43 w 119"/>
                <a:gd name="T9" fmla="*/ 112 h 114"/>
                <a:gd name="T10" fmla="*/ 57 w 119"/>
                <a:gd name="T11" fmla="*/ 114 h 114"/>
                <a:gd name="T12" fmla="*/ 111 w 119"/>
                <a:gd name="T13" fmla="*/ 73 h 114"/>
                <a:gd name="T14" fmla="*/ 73 w 119"/>
                <a:gd name="T15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114">
                  <a:moveTo>
                    <a:pt x="73" y="4"/>
                  </a:moveTo>
                  <a:cubicBezTo>
                    <a:pt x="59" y="0"/>
                    <a:pt x="44" y="2"/>
                    <a:pt x="30" y="9"/>
                  </a:cubicBezTo>
                  <a:cubicBezTo>
                    <a:pt x="17" y="17"/>
                    <a:pt x="8" y="29"/>
                    <a:pt x="4" y="43"/>
                  </a:cubicBezTo>
                  <a:cubicBezTo>
                    <a:pt x="0" y="57"/>
                    <a:pt x="1" y="72"/>
                    <a:pt x="9" y="85"/>
                  </a:cubicBezTo>
                  <a:cubicBezTo>
                    <a:pt x="16" y="98"/>
                    <a:pt x="28" y="107"/>
                    <a:pt x="43" y="112"/>
                  </a:cubicBezTo>
                  <a:cubicBezTo>
                    <a:pt x="48" y="113"/>
                    <a:pt x="52" y="114"/>
                    <a:pt x="57" y="114"/>
                  </a:cubicBezTo>
                  <a:cubicBezTo>
                    <a:pt x="81" y="114"/>
                    <a:pt x="104" y="97"/>
                    <a:pt x="111" y="73"/>
                  </a:cubicBezTo>
                  <a:cubicBezTo>
                    <a:pt x="119" y="44"/>
                    <a:pt x="102" y="12"/>
                    <a:pt x="73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87159288-A5ED-4305-8773-CBBE6AB13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88" y="703263"/>
              <a:ext cx="42863" cy="42863"/>
            </a:xfrm>
            <a:custGeom>
              <a:avLst/>
              <a:gdLst>
                <a:gd name="T0" fmla="*/ 74 w 115"/>
                <a:gd name="T1" fmla="*/ 4 h 114"/>
                <a:gd name="T2" fmla="*/ 31 w 115"/>
                <a:gd name="T3" fmla="*/ 9 h 114"/>
                <a:gd name="T4" fmla="*/ 4 w 115"/>
                <a:gd name="T5" fmla="*/ 43 h 114"/>
                <a:gd name="T6" fmla="*/ 9 w 115"/>
                <a:gd name="T7" fmla="*/ 85 h 114"/>
                <a:gd name="T8" fmla="*/ 43 w 115"/>
                <a:gd name="T9" fmla="*/ 112 h 114"/>
                <a:gd name="T10" fmla="*/ 58 w 115"/>
                <a:gd name="T11" fmla="*/ 114 h 114"/>
                <a:gd name="T12" fmla="*/ 111 w 115"/>
                <a:gd name="T13" fmla="*/ 74 h 114"/>
                <a:gd name="T14" fmla="*/ 106 w 115"/>
                <a:gd name="T15" fmla="*/ 31 h 114"/>
                <a:gd name="T16" fmla="*/ 74 w 115"/>
                <a:gd name="T17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14">
                  <a:moveTo>
                    <a:pt x="74" y="4"/>
                  </a:moveTo>
                  <a:cubicBezTo>
                    <a:pt x="59" y="0"/>
                    <a:pt x="44" y="2"/>
                    <a:pt x="31" y="9"/>
                  </a:cubicBezTo>
                  <a:cubicBezTo>
                    <a:pt x="18" y="17"/>
                    <a:pt x="8" y="29"/>
                    <a:pt x="4" y="43"/>
                  </a:cubicBezTo>
                  <a:cubicBezTo>
                    <a:pt x="0" y="57"/>
                    <a:pt x="2" y="72"/>
                    <a:pt x="9" y="85"/>
                  </a:cubicBezTo>
                  <a:cubicBezTo>
                    <a:pt x="17" y="98"/>
                    <a:pt x="29" y="108"/>
                    <a:pt x="43" y="112"/>
                  </a:cubicBezTo>
                  <a:cubicBezTo>
                    <a:pt x="48" y="113"/>
                    <a:pt x="53" y="114"/>
                    <a:pt x="58" y="114"/>
                  </a:cubicBezTo>
                  <a:cubicBezTo>
                    <a:pt x="82" y="114"/>
                    <a:pt x="105" y="98"/>
                    <a:pt x="111" y="74"/>
                  </a:cubicBezTo>
                  <a:cubicBezTo>
                    <a:pt x="115" y="59"/>
                    <a:pt x="114" y="44"/>
                    <a:pt x="106" y="31"/>
                  </a:cubicBezTo>
                  <a:cubicBezTo>
                    <a:pt x="99" y="18"/>
                    <a:pt x="88" y="8"/>
                    <a:pt x="74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541919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whit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331D50D-30CF-4EDE-AAD6-F27CA1FDE9C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6EA2B217-3057-45E7-8168-20756D141EEB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B98D741-86A0-4952-A3ED-78E843F23CF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8A9C1A8-0BFC-4236-A720-3456710C7F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502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whit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_whit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rgbClr val="FFFFFF"/>
                </a:solidFill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32AF60-FE79-46A0-BC71-D44F0EA48E3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303749D-A696-4536-A77F-9F151E91CA68}" type="datetime1">
              <a:rPr lang="en-US" smtClean="0"/>
              <a:t>10/17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29E755B-56DD-462B-ABE5-CF5CC16BEF0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8BE4BA5-BC2D-41C2-86C7-5365F2F9A5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956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background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59" y="515462"/>
            <a:ext cx="11117083" cy="800219"/>
          </a:xfrm>
        </p:spPr>
        <p:txBody>
          <a:bodyPr/>
          <a:lstStyle>
            <a:lvl1pPr>
              <a:defRPr sz="46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C7AD3A-599B-4013-9C13-39954DC1600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527CBB6-F198-46C0-86A3-6DE8D7FCE44E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C8C8EB2-9FA7-41E0-9ED8-5393479C4C2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BEF155E-4AF5-46F2-9B1D-1AA8A27811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519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ottom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big_bottom"/>
          <p:cNvSpPr>
            <a:spLocks noGrp="1"/>
          </p:cNvSpPr>
          <p:nvPr>
            <p:ph type="title"/>
          </p:nvPr>
        </p:nvSpPr>
        <p:spPr>
          <a:xfrm>
            <a:off x="537459" y="4376267"/>
            <a:ext cx="11117083" cy="800219"/>
          </a:xfrm>
        </p:spPr>
        <p:txBody>
          <a:bodyPr/>
          <a:lstStyle>
            <a:lvl1pPr>
              <a:defRPr sz="46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0820E8D-C14D-4C0B-BD6B-8F88D7BAADE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9596046-8E1F-440F-903B-1101D1D18392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74A7328-CA38-4B1B-B573-1B0774D3AC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DFC39A8-2928-4641-814D-B19F9B6E95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72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nter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2242484"/>
            <a:ext cx="11117083" cy="800219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600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F97BB7-0400-4F5F-B75B-E08643B21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5CB9EB0-88BB-4EDA-97E8-34F05DE9891F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FEF71E9-F7CE-4E64-AEEB-C5CAA1C4C9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06FA90-FF74-470B-B12B-CCFE0A47C26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239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midd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2995024"/>
            <a:ext cx="11117083" cy="800219"/>
          </a:xfrm>
        </p:spPr>
        <p:txBody>
          <a:bodyPr anchor="ctr" anchorCtr="0"/>
          <a:lstStyle>
            <a:lvl1pPr algn="ctr">
              <a:lnSpc>
                <a:spcPct val="100000"/>
              </a:lnSpc>
              <a:defRPr sz="4600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FF18A5-09F4-47C1-A4BD-EC66B9E1685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EB6C57E9-861E-415E-B865-C8BA76B1D1D6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EBA99D-F27E-46D4-86A6-1803583B424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8AA439-BB0B-4BC6-A160-9D3AE0EBCD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799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614988" y="1671637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2762727" y="2785586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477726" y="2785586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92575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0159662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075194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442281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36DA9F-7CE5-43B5-8F53-462D33E0516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3034C41-2792-400F-AFB6-C4700EF5989D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37965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nter with background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1188800"/>
            <a:ext cx="11117083" cy="800219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600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87D3ED-8D67-4329-961D-BAFB628883A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615E30C7-E381-4CE9-94BC-FA970C5831DD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8796849-6AD9-46A1-9917-550D61FDBEE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89D0C9D-FFF7-4329-BDB4-01B62B2341A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434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enter with background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1843561"/>
            <a:ext cx="11117083" cy="800219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600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E65079B-A7F3-4458-8D93-E8D810E9878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5821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3001960"/>
            <a:ext cx="11117083" cy="1892826"/>
          </a:xfrm>
        </p:spPr>
        <p:txBody>
          <a:bodyPr anchor="t" anchorCtr="0"/>
          <a:lstStyle>
            <a:lvl1pPr algn="ctr">
              <a:lnSpc>
                <a:spcPct val="90000"/>
              </a:lnSpc>
              <a:defRPr sz="6500" b="0" spc="0" baseline="0">
                <a:solidFill>
                  <a:srgbClr val="FFFFFF"/>
                </a:solidFill>
                <a:latin typeface="Work Sans Medium" panose="020B0706030804020204" pitchFamily="34" charset="0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3201FB-FE53-4F0B-8FDF-C2DEEA8F96B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643DA3C-94A5-449C-87E2-4E7C63296742}" type="datetime1">
              <a:rPr lang="en-US" smtClean="0"/>
              <a:t>10/17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420328C-B50E-4E5B-A023-F1DFCF9F6B1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4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CCC5429-3FEC-4B5F-A188-C895E743664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074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 backgrou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4" y="0"/>
            <a:ext cx="584077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04751" y="2817264"/>
            <a:ext cx="5245824" cy="1476440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3D586E-F233-48FE-A780-BB4D0BED11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6896" y="4383088"/>
            <a:ext cx="5243679" cy="367816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BDFC6F-3286-4A3D-A782-EF139340A1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751" y="464694"/>
            <a:ext cx="1727322" cy="49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136465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&amp; half backgrou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37460" y="426425"/>
            <a:ext cx="5245824" cy="597306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4" y="0"/>
            <a:ext cx="584077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4" hasCustomPrompt="1"/>
          </p:nvPr>
        </p:nvSpPr>
        <p:spPr>
          <a:xfrm>
            <a:off x="536401" y="1023731"/>
            <a:ext cx="5258610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3920416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 backgroun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84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896ED2-8998-45EC-B37F-E645AEBA4D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50000" y="2454275"/>
            <a:ext cx="5238750" cy="2236788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IN" sz="3200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8956744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&amp; half backgroun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991678"/>
            <a:ext cx="12192000" cy="38663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988EB7-C821-4EEA-B8AF-13B106E73F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7419" y="436119"/>
            <a:ext cx="1727322" cy="497469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896ED2-8998-45EC-B37F-E645AEBA4D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7259" y="341736"/>
            <a:ext cx="8638209" cy="122346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IN" sz="3200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32362560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&amp; half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51223" y="0"/>
            <a:ext cx="5840777" cy="6858000"/>
          </a:xfrm>
          <a:prstGeom prst="rect">
            <a:avLst/>
          </a:prstGeom>
          <a:solidFill>
            <a:schemeClr val="bg2"/>
          </a:solidFill>
          <a:ln w="0">
            <a:solidFill>
              <a:schemeClr val="bg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37460" y="505937"/>
            <a:ext cx="5245824" cy="600164"/>
          </a:xfrm>
        </p:spPr>
        <p:txBody>
          <a:bodyPr>
            <a:norm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0"/>
            <a:ext cx="5258610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61F96C5-3350-41E7-9935-541D8E55CBF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C756037-265D-49C9-94C5-D5D8B5AC7528}" type="datetime1">
              <a:rPr lang="en-US" smtClean="0"/>
              <a:t>10/17/2024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DE194D9-0741-4E27-B3E3-BCC4A9F59B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89" y="6346190"/>
            <a:ext cx="761937" cy="219438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6849D2A-A30B-4356-922F-72CA51FACC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0533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863600" y="1673955"/>
            <a:ext cx="4978400" cy="43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572956" y="1673955"/>
            <a:ext cx="4978400" cy="43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4DD618-DA0C-4B98-A734-B2100C4DE3F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E4700F8-D74E-4CB4-BCC0-006F6FB02BF1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091751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 p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397000" y="1485900"/>
            <a:ext cx="6299200" cy="382905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587499" y="1803388"/>
            <a:ext cx="5922963" cy="3335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651353" y="1585913"/>
            <a:ext cx="3038476" cy="1838325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743600" y="1738313"/>
            <a:ext cx="2858400" cy="15954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651353" y="3381376"/>
            <a:ext cx="3038476" cy="1838325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7743600" y="3533776"/>
            <a:ext cx="2858400" cy="15954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5B1FEBC-DBE4-46E4-85A5-7821E881193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79C2446-DD0C-4F9F-A89D-8D339DE01880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7187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45600" y="1678732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4454268" y="1678732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0"/>
          </p:nvPr>
        </p:nvSpPr>
        <p:spPr>
          <a:xfrm>
            <a:off x="8262936" y="1678732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9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FAFC74-5FD3-4865-8C40-97BD719CA799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77EDC609-7CDE-4442-BFAF-F1FC3806566D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437623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456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3708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8212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889A59-B598-4605-94C7-790118509E9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5413326-9E05-4C10-9289-0309A8B7AB7C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86313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859631" y="1683496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15543" y="1683496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571455" y="1683496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9427368" y="1683496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859631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3715543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8"/>
          </p:nvPr>
        </p:nvSpPr>
        <p:spPr>
          <a:xfrm>
            <a:off x="6571455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9427368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21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2649D5E-F6D0-4AA0-9127-CE8B8D68317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BCB5987D-74F5-41F6-8DF9-E5057CA4A8EE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547462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614988" y="1671637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2762727" y="2785586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477726" y="2785586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92575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0159662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075194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442281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36DA9F-7CE5-43B5-8F53-462D33E0516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A208D33-E579-4E92-B23F-9F434A410176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015790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45600" y="1678732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4454268" y="1678732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0"/>
          </p:nvPr>
        </p:nvSpPr>
        <p:spPr>
          <a:xfrm>
            <a:off x="8262936" y="1678732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9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FAFC74-5FD3-4865-8C40-97BD719CA799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84B97D5-3EB1-4E87-B04E-15F0916FF57D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462666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6EF514-C482-4232-A3C4-2A64B27FDA7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E812D47-18D9-42AC-A24D-615881901B2E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301247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F54AED-ADE0-4FD9-A927-39235D4125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1900B3D-FE7D-4DF4-AF56-283E9EAC43C9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518978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anv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33413" y="1679972"/>
            <a:ext cx="2147365" cy="2771775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849563" y="1679972"/>
            <a:ext cx="2122487" cy="1355328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849563" y="3096419"/>
            <a:ext cx="2122487" cy="1355328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040835" y="1679972"/>
            <a:ext cx="2109265" cy="2771775"/>
          </a:xfrm>
          <a:prstGeom prst="rect">
            <a:avLst/>
          </a:prstGeom>
          <a:solidFill>
            <a:schemeClr val="accent2"/>
          </a:solidFill>
          <a:ln w="0">
            <a:solidFill>
              <a:schemeClr val="accent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7218885" y="1679972"/>
            <a:ext cx="2122487" cy="1355328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7218885" y="3096419"/>
            <a:ext cx="2122487" cy="1355328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9412280" y="1679972"/>
            <a:ext cx="2147365" cy="2771775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633413" y="4514865"/>
            <a:ext cx="5430837" cy="1521985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6128808" y="4514865"/>
            <a:ext cx="5430837" cy="1521985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BEC102-29F4-44F4-9717-4F55C36451D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9D5F100-1CF9-4887-9CF0-5100F5ABDB0C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200066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er &amp;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42516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Title_center_white"/>
          <p:cNvSpPr>
            <a:spLocks noGrp="1"/>
          </p:cNvSpPr>
          <p:nvPr>
            <p:ph type="title"/>
          </p:nvPr>
        </p:nvSpPr>
        <p:spPr>
          <a:xfrm>
            <a:off x="537459" y="1393077"/>
            <a:ext cx="11117083" cy="854080"/>
          </a:xfrm>
        </p:spPr>
        <p:txBody>
          <a:bodyPr/>
          <a:lstStyle>
            <a:lvl1pPr algn="ctr">
              <a:lnSpc>
                <a:spcPct val="90000"/>
              </a:lnSpc>
              <a:defRPr sz="55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9EAB10-2A06-46DB-9D61-651C4714BC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6AE7E6D-9E63-499A-8630-7EDBE7FCBD44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000630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425132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6" name="Title_white"/>
          <p:cNvSpPr>
            <a:spLocks noGrp="1"/>
          </p:cNvSpPr>
          <p:nvPr>
            <p:ph type="title"/>
          </p:nvPr>
        </p:nvSpPr>
        <p:spPr>
          <a:xfrm>
            <a:off x="537459" y="507600"/>
            <a:ext cx="11117083" cy="60016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_white"/>
          <p:cNvSpPr>
            <a:spLocks noGrp="1"/>
          </p:cNvSpPr>
          <p:nvPr>
            <p:ph type="body" sz="quarter" idx="14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rgbClr val="FFFFFF"/>
                </a:solidFill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E8390B-E553-4AFB-9D02-3A91A917F16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9AD1672-9487-4D5B-9665-28EF210276B0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055517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4251960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_bottom"/>
          <p:cNvSpPr>
            <a:spLocks noGrp="1"/>
          </p:cNvSpPr>
          <p:nvPr>
            <p:ph type="title"/>
          </p:nvPr>
        </p:nvSpPr>
        <p:spPr>
          <a:xfrm>
            <a:off x="447288" y="4702149"/>
            <a:ext cx="3555570" cy="1107996"/>
          </a:xfrm>
        </p:spPr>
        <p:txBody>
          <a:bodyPr/>
          <a:lstStyle>
            <a:lvl1pPr algn="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7AD4B0-74D8-4A99-8D65-643E71AF4BF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0565E9-EFE3-42ED-808D-C987D42B42E7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182BAD-05B8-4986-BB17-A1EEBE504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7CC83B-39BF-444E-9F0E-05AF20B460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1493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6EF514-C482-4232-A3C4-2A64B27FDA7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CAB8B46-D6E8-4C63-8CCC-B18863FF8C47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33414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ttom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bottom"/>
          <p:cNvSpPr>
            <a:spLocks noGrp="1"/>
          </p:cNvSpPr>
          <p:nvPr>
            <p:ph type="title"/>
          </p:nvPr>
        </p:nvSpPr>
        <p:spPr>
          <a:xfrm>
            <a:off x="447288" y="4702149"/>
            <a:ext cx="3555570" cy="1107996"/>
          </a:xfrm>
        </p:spPr>
        <p:txBody>
          <a:bodyPr/>
          <a:lstStyle>
            <a:lvl1pPr algn="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Media Placeholder 5"/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12192000" cy="425132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B36426-6EC5-4026-9861-2E3B511F9B3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AA1BE53-C971-43AF-B6C1-B53C02E59981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518050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 backgroun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6249771" y="507600"/>
            <a:ext cx="5245824" cy="60016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C285DA-4081-47B1-9802-35DB6744DC1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DFE17C9-F4CB-4ACA-8CE3-6F88FE9375DE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D09ACD-7F31-45B9-830E-CB35153DEB8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399" y="6323714"/>
            <a:ext cx="4807125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AD63F7-AFCC-49EC-A106-B67FD146536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8742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&amp; half backgroun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6249771" y="507600"/>
            <a:ext cx="5245824" cy="60016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Subtitle_half_right"/>
          <p:cNvSpPr>
            <a:spLocks noGrp="1"/>
          </p:cNvSpPr>
          <p:nvPr>
            <p:ph type="body" sz="quarter" idx="14" hasCustomPrompt="1"/>
          </p:nvPr>
        </p:nvSpPr>
        <p:spPr>
          <a:xfrm>
            <a:off x="6251401" y="925200"/>
            <a:ext cx="5258610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4B8A11-8D61-4C4F-97A4-733042DD642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9D8B605-6241-43AF-BAA2-240FC1EB432D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992617-E2A3-4D69-A3DF-8DF4D293841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4"/>
            <a:ext cx="485475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54BCE30-C810-4694-95AD-55DD5391E41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49822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59" y="507600"/>
            <a:ext cx="10958541" cy="60016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931000" y="1540800"/>
            <a:ext cx="2790000" cy="471450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44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141000" y="1539000"/>
            <a:ext cx="2790000" cy="471450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65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7356000" y="1211170"/>
            <a:ext cx="3150000" cy="532283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7931597" y="2217364"/>
            <a:ext cx="1998806" cy="33104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3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9DEF6B-1CDC-48FB-B2FA-212E8F433ED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6C64807-8604-4AEC-8913-4CBAD711AEC4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845231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146000" y="13608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5610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926000" y="13608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53460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8751000" y="13608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91692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Subtitle"/>
          <p:cNvSpPr>
            <a:spLocks noGrp="1"/>
          </p:cNvSpPr>
          <p:nvPr>
            <p:ph type="body" sz="quarter" idx="31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683D3-6885-4096-8122-8A581B751BBE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57A4A38-EA70-4D71-B729-CBE52F47AAB2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16168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651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106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3441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85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6366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1" name="Picture Placeholder 8"/>
          <p:cNvSpPr>
            <a:spLocks noGrp="1"/>
          </p:cNvSpPr>
          <p:nvPr>
            <p:ph type="pic" sz="quarter" idx="32"/>
          </p:nvPr>
        </p:nvSpPr>
        <p:spPr>
          <a:xfrm>
            <a:off x="6781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9291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3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970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504560-DEDE-4304-8564-D6CFB1921300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fld id="{AB3BEA76-C87A-40A6-AFAF-0ABDC2A264A0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9551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836000" y="1269000"/>
            <a:ext cx="2520000" cy="4469021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5299200" y="2124000"/>
            <a:ext cx="1598400" cy="279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99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65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7626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32"/>
          </p:nvPr>
        </p:nvSpPr>
        <p:spPr>
          <a:xfrm>
            <a:off x="992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56E03B-D1A3-49D7-BDA2-2B1C473B90CE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BB1E59E1-A74A-4921-A524-992B017BEC83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690627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441000" y="1224000"/>
            <a:ext cx="3015000" cy="526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3985346" y="2217600"/>
            <a:ext cx="1926309" cy="329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736000" y="1224000"/>
            <a:ext cx="3015000" cy="526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280346" y="2217600"/>
            <a:ext cx="1926309" cy="329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A95F-2646-46AB-92A0-FCDE59F0AF6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EAD1640-A3B4-405F-A6DD-84BCF479795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359244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e App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874400" y="1134000"/>
            <a:ext cx="2559600" cy="4510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3CBC50C-C444-4B7B-9C48-B452761CAA3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9F10CE6-619C-476C-95D5-B1751040DC94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E89BFC-ADBE-4018-AB63-D218070638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4"/>
            <a:ext cx="390225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3B3D78-2787-4EF7-B776-7FA4318D148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527323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e App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00" y="0"/>
            <a:ext cx="5842000" cy="6858000"/>
          </a:xfrm>
          <a:prstGeom prst="rect">
            <a:avLst/>
          </a:prstGeom>
        </p:spPr>
      </p:pic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287200" y="1134000"/>
            <a:ext cx="2347200" cy="418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59" y="507600"/>
            <a:ext cx="5468541" cy="600164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0" y="925200"/>
            <a:ext cx="548720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E4D9D2-73BE-48E3-A286-419A1A9E7E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89" y="6346190"/>
            <a:ext cx="761937" cy="219438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8CC9B5-0496-45A8-A223-C6F5B3064F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26D462-3FA9-4B2E-87C6-3FF170DC516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E3C39D83-29EC-4238-8031-2DEF193E96D4}" type="datetime1">
              <a:rPr lang="en-US" smtClean="0"/>
              <a:t>10/17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5F73562-C31F-4EFD-92D8-787957F17CC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6350000" y="6323714"/>
            <a:ext cx="3662682" cy="24577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B2B0F2-80AA-46C0-832B-A7C809992C7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3027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F54AED-ADE0-4FD9-A927-39235D4125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A53B7BF-463C-4115-B51B-0FDA8C66D59A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160996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665600" y="1249200"/>
            <a:ext cx="2862000" cy="5194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188194" y="2242800"/>
            <a:ext cx="1818000" cy="32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CDCFD83-29A0-4266-8E72-C7872FCA40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B4DFAE5-A080-4622-9AB2-1C4DE9520175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971556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4"/>
          </p:nvPr>
        </p:nvSpPr>
        <p:spPr>
          <a:xfrm>
            <a:off x="8438400" y="1242000"/>
            <a:ext cx="2721600" cy="4899763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940799" y="2185037"/>
            <a:ext cx="1721485" cy="3072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894000" y="1000800"/>
            <a:ext cx="2988000" cy="53856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439027" y="2028826"/>
            <a:ext cx="1898648" cy="3352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6"/>
          </p:nvPr>
        </p:nvSpPr>
        <p:spPr>
          <a:xfrm>
            <a:off x="6057900" y="4183925"/>
            <a:ext cx="2114550" cy="211498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8"/>
          <p:cNvSpPr>
            <a:spLocks noGrp="1" noChangeAspect="1"/>
          </p:cNvSpPr>
          <p:nvPr>
            <p:ph type="pic" sz="quarter" idx="17"/>
          </p:nvPr>
        </p:nvSpPr>
        <p:spPr>
          <a:xfrm>
            <a:off x="6393076" y="4519616"/>
            <a:ext cx="1444199" cy="1443600"/>
          </a:xfrm>
          <a:prstGeom prst="roundRect">
            <a:avLst>
              <a:gd name="adj" fmla="val 24561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4AD55B3-D661-491A-8908-26DA58DF016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DF9F557-9283-400B-9E8A-37769D1389E3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473018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59" y="507600"/>
            <a:ext cx="6028441" cy="600164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8610600" y="442912"/>
            <a:ext cx="3489076" cy="5895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9246871" y="1569600"/>
            <a:ext cx="2214000" cy="367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565899" y="69850"/>
            <a:ext cx="3867785" cy="6535738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268400" y="1317600"/>
            <a:ext cx="2462400" cy="4071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Subtitle_half_left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0" y="925200"/>
            <a:ext cx="603584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9BB3C1-F184-4624-957C-11069899683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BF282F4-79FC-44D0-9C52-5913C7416289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671034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t App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8256000" cy="6858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59" y="507600"/>
            <a:ext cx="5468541" cy="600164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803000" y="604800"/>
            <a:ext cx="4233600" cy="568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8570698" y="1576372"/>
            <a:ext cx="2787605" cy="37502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770800" y="36000"/>
            <a:ext cx="4784400" cy="66312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20"/>
          </p:nvPr>
        </p:nvSpPr>
        <p:spPr>
          <a:xfrm>
            <a:off x="6541026" y="1169231"/>
            <a:ext cx="3249949" cy="43722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Subtitle_half_left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0" y="925200"/>
            <a:ext cx="548720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EAD8AF-2D5F-41F9-A2CD-CC6CECFFB1B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098520D-E951-48C3-87C7-556939AE577A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172A04-22D3-430B-9A51-52297E6ACB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408CF4-5D69-473C-AD15-4EFAD292026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C21C60-F8F6-4713-9C3A-36A45EB422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89" y="6346190"/>
            <a:ext cx="761937" cy="219438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538131-5352-4760-982F-4CF68C1370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36307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68141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Ap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222800" y="1263600"/>
            <a:ext cx="3758400" cy="52092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825585" y="2152650"/>
            <a:ext cx="2553531" cy="3435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7458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CA4C63E-82B6-45AE-8E1B-5834946546C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E075CF6-FF02-4E14-BED7-658A8B7389AE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366141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t App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8256000" cy="6858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59" y="507600"/>
            <a:ext cx="5468541" cy="600164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5810400" y="43200"/>
            <a:ext cx="6382800" cy="658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7176000" y="909000"/>
            <a:ext cx="5016000" cy="48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Subtitle_half_left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0" y="925200"/>
            <a:ext cx="548720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0B690F-AE10-4AC5-B742-38A87F78E8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89" y="6346190"/>
            <a:ext cx="761937" cy="219438"/>
          </a:xfrm>
          <a:prstGeom prst="rect">
            <a:avLst/>
          </a:prstGeom>
        </p:spPr>
      </p:pic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FF356AB-D0D8-4167-B117-3B8AB329EC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D6D8294-CB5D-48A3-AF81-4EA0BC6DBA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6F7FACB-E1D5-4790-92A4-5ABD758A8831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A0D8B-DB9A-446B-ABAF-4EB4825BAA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F990A2-3A3F-47BA-AA36-8341BD8C796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19649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44400" y="349200"/>
            <a:ext cx="6148800" cy="598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59" y="507600"/>
            <a:ext cx="6028441" cy="600164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493000" y="984250"/>
            <a:ext cx="4699000" cy="4578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0" y="925200"/>
            <a:ext cx="6058709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78EDBA-32D1-4CAD-B6F5-A12817AA145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211A754-7064-40F6-B6C3-23CB3C398A29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787739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7200" y="1652400"/>
            <a:ext cx="7480800" cy="4384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435100" y="2120901"/>
            <a:ext cx="5340349" cy="3346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D71CA83-4C14-4F76-8A2E-4BC45FED97B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7C2E90D-ABC1-44B9-93EC-765787164043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16603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30400" y="1411200"/>
            <a:ext cx="7930800" cy="469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861051" y="1911350"/>
            <a:ext cx="5664200" cy="3581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AE8933-31AB-4E36-AA2D-4C3A1404976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49FC659-658B-40A0-A54C-E3F572CD01D5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318282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&amp; Mob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30400" y="1411200"/>
            <a:ext cx="7930800" cy="469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861051" y="1911350"/>
            <a:ext cx="5664200" cy="3581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335780" y="1958400"/>
            <a:ext cx="2473200" cy="444960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786238" y="2800350"/>
            <a:ext cx="1576462" cy="2781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6F0666-F520-4269-B254-69D901F7443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EF73FDF-5DD9-49D0-80F8-B5AE91B45816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2849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anv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33413" y="1679973"/>
            <a:ext cx="2147365" cy="2771775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849563" y="1679972"/>
            <a:ext cx="2122487" cy="1355328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849563" y="3096419"/>
            <a:ext cx="2122487" cy="1355328"/>
          </a:xfrm>
          <a:prstGeom prst="rect">
            <a:avLst/>
          </a:pr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040836" y="1679973"/>
            <a:ext cx="2109265" cy="2771775"/>
          </a:xfrm>
          <a:prstGeom prst="rect">
            <a:avLst/>
          </a:prstGeom>
          <a:solidFill>
            <a:schemeClr val="accent2"/>
          </a:solidFill>
          <a:ln w="0">
            <a:solidFill>
              <a:schemeClr val="accent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7218886" y="1679972"/>
            <a:ext cx="2122487" cy="1355328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7218886" y="3096419"/>
            <a:ext cx="2122487" cy="1355328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9412281" y="1679973"/>
            <a:ext cx="2147365" cy="2771775"/>
          </a:xfrm>
          <a:prstGeom prst="rect">
            <a:avLst/>
          </a:prstGeom>
          <a:solidFill>
            <a:schemeClr val="accent3"/>
          </a:solidFill>
          <a:ln w="0">
            <a:solidFill>
              <a:schemeClr val="accent3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633413" y="4514866"/>
            <a:ext cx="5430837" cy="1521985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6128808" y="4514866"/>
            <a:ext cx="5430837" cy="1521985"/>
          </a:xfrm>
          <a:prstGeom prst="rect">
            <a:avLst/>
          </a:prstGeom>
          <a:solidFill>
            <a:schemeClr val="accent4"/>
          </a:solidFill>
          <a:ln w="0">
            <a:solidFill>
              <a:schemeClr val="accent4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BEC102-29F4-44F4-9717-4F55C36451D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AC95F3A-685B-4F3B-A8C2-83185F1A43F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910223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wse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184400" y="360000"/>
            <a:ext cx="9806400" cy="596265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473199" y="842963"/>
            <a:ext cx="9242425" cy="5195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A86E8-732D-41AD-8CBC-E4BE91507AC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B5D25B5-6856-41CE-A613-603FD5CB36F1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360750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ws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574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52800" y="878400"/>
            <a:ext cx="5868000" cy="5364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6000" y="1359000"/>
            <a:ext cx="5377846" cy="4625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5940000" y="878400"/>
            <a:ext cx="5868000" cy="5364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6186000" y="1359000"/>
            <a:ext cx="5377846" cy="4625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610000" y="324000"/>
            <a:ext cx="7048800" cy="6022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902178" y="859537"/>
            <a:ext cx="6478822" cy="5195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F243B8-8FCB-438F-B4A9-64F98C1EE60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F726775-1169-4883-9E7D-7C4C424960F7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725780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ws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7900" y="1384300"/>
            <a:ext cx="5765800" cy="46863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357938" y="1943100"/>
            <a:ext cx="5186361" cy="3854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0" y="925200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85A0D-1399-471C-86C5-8E18B0508C2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49043ED-3B7D-41E1-A719-1FE2F47DC72C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123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er &amp;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42516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Title_center_white"/>
          <p:cNvSpPr>
            <a:spLocks noGrp="1"/>
          </p:cNvSpPr>
          <p:nvPr>
            <p:ph type="title"/>
          </p:nvPr>
        </p:nvSpPr>
        <p:spPr>
          <a:xfrm>
            <a:off x="537459" y="1393077"/>
            <a:ext cx="11117083" cy="854080"/>
          </a:xfrm>
        </p:spPr>
        <p:txBody>
          <a:bodyPr/>
          <a:lstStyle>
            <a:lvl1pPr algn="ctr">
              <a:lnSpc>
                <a:spcPct val="90000"/>
              </a:lnSpc>
              <a:defRPr sz="55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9EAB10-2A06-46DB-9D61-651C4714BC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52CD7EE-76B7-4AEB-8F2E-967E14F1AE03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6535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1" y="1041189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0A18FA5-BB6A-4CAA-B99D-D389D6D3D91C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669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op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12192000" cy="425132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6" name="Title_white"/>
          <p:cNvSpPr>
            <a:spLocks noGrp="1"/>
          </p:cNvSpPr>
          <p:nvPr>
            <p:ph type="title"/>
          </p:nvPr>
        </p:nvSpPr>
        <p:spPr>
          <a:xfrm>
            <a:off x="537459" y="507600"/>
            <a:ext cx="11117083" cy="58477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_white"/>
          <p:cNvSpPr>
            <a:spLocks noGrp="1"/>
          </p:cNvSpPr>
          <p:nvPr>
            <p:ph type="body" sz="quarter" idx="14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rgbClr val="FFFFFF"/>
                </a:solidFill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E8390B-E553-4AFB-9D02-3A91A917F16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43CF453-BAE3-4EEA-8076-C882B98A29AA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9581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4251960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_bottom"/>
          <p:cNvSpPr>
            <a:spLocks noGrp="1"/>
          </p:cNvSpPr>
          <p:nvPr>
            <p:ph type="title"/>
          </p:nvPr>
        </p:nvSpPr>
        <p:spPr>
          <a:xfrm>
            <a:off x="447288" y="4702150"/>
            <a:ext cx="3555570" cy="1077218"/>
          </a:xfrm>
        </p:spPr>
        <p:txBody>
          <a:bodyPr/>
          <a:lstStyle>
            <a:lvl1pPr algn="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7AD4B0-74D8-4A99-8D65-643E71AF4BF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861F58-9F2F-409A-8550-2802A028BFA2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182BAD-05B8-4986-BB17-A1EEBE504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7CC83B-39BF-444E-9F0E-05AF20B460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107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ttom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bottom"/>
          <p:cNvSpPr>
            <a:spLocks noGrp="1"/>
          </p:cNvSpPr>
          <p:nvPr>
            <p:ph type="title"/>
          </p:nvPr>
        </p:nvSpPr>
        <p:spPr>
          <a:xfrm>
            <a:off x="447288" y="4702150"/>
            <a:ext cx="3555570" cy="1077218"/>
          </a:xfrm>
        </p:spPr>
        <p:txBody>
          <a:bodyPr/>
          <a:lstStyle>
            <a:lvl1pPr algn="r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Media Placeholder 5"/>
          <p:cNvSpPr>
            <a:spLocks noGrp="1"/>
          </p:cNvSpPr>
          <p:nvPr>
            <p:ph type="media" sz="quarter" idx="12"/>
          </p:nvPr>
        </p:nvSpPr>
        <p:spPr>
          <a:xfrm>
            <a:off x="0" y="1"/>
            <a:ext cx="12192000" cy="4251325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B36426-6EC5-4026-9861-2E3B511F9B3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A64012-C6E2-4CA3-AD1B-B2EAAB68F2A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6124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 backgroun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6249771" y="507600"/>
            <a:ext cx="5245824" cy="5847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C285DA-4081-47B1-9802-35DB6744DC1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471CB8E-9AE9-46F1-B68E-24910AB99241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D09ACD-7F31-45B9-830E-CB35153DEB8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399" y="6323715"/>
            <a:ext cx="4807125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AD63F7-AFCC-49EC-A106-B67FD146536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6620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 &amp; half background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6249771" y="507600"/>
            <a:ext cx="5245824" cy="5847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840776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Subtitle_half_right"/>
          <p:cNvSpPr>
            <a:spLocks noGrp="1"/>
          </p:cNvSpPr>
          <p:nvPr>
            <p:ph type="body" sz="quarter" idx="14" hasCustomPrompt="1"/>
          </p:nvPr>
        </p:nvSpPr>
        <p:spPr>
          <a:xfrm>
            <a:off x="6251401" y="925201"/>
            <a:ext cx="5258610" cy="50906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4B8A11-8D61-4C4F-97A4-733042DD642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8468473-55A5-4C48-8D7D-CB4B5992D163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992617-E2A3-4D69-A3DF-8DF4D293841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5"/>
            <a:ext cx="485475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54BCE30-C810-4694-95AD-55DD5391E41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9764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60" y="507600"/>
            <a:ext cx="10958541" cy="584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931000" y="1540801"/>
            <a:ext cx="2790000" cy="471450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44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141000" y="1539001"/>
            <a:ext cx="2790000" cy="471450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650814" y="2440800"/>
            <a:ext cx="1770372" cy="294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7356000" y="1211170"/>
            <a:ext cx="3150000" cy="532283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7931598" y="2217364"/>
            <a:ext cx="1998806" cy="33104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3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9DEF6B-1CDC-48FB-B2FA-212E8F433ED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20CC094-50AD-4476-9B55-89B7F6FB9B02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1397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146000" y="13608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5610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926000" y="13608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53460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8751000" y="13608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9169200" y="21168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Subtitle"/>
          <p:cNvSpPr>
            <a:spLocks noGrp="1"/>
          </p:cNvSpPr>
          <p:nvPr>
            <p:ph type="body" sz="quarter" idx="31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1683D3-6885-4096-8122-8A581B751BBE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CB53772D-2D54-498A-BAA7-7AA0E983E49F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7967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651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106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3441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85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6366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1" name="Picture Placeholder 8"/>
          <p:cNvSpPr>
            <a:spLocks noGrp="1"/>
          </p:cNvSpPr>
          <p:nvPr>
            <p:ph type="pic" sz="quarter" idx="32"/>
          </p:nvPr>
        </p:nvSpPr>
        <p:spPr>
          <a:xfrm>
            <a:off x="6781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9291000" y="1359000"/>
            <a:ext cx="2295000" cy="3960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3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9706000" y="2115000"/>
            <a:ext cx="1461600" cy="246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504560-DEDE-4304-8564-D6CFB1921300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fld id="{001B6360-DAB2-49A6-82CB-CA3E3B30CE8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2959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2366964"/>
            <a:ext cx="12192000" cy="1909762"/>
          </a:xfrm>
          <a:prstGeom prst="rect">
            <a:avLst/>
          </a:prstGeom>
          <a:solidFill>
            <a:schemeClr val="bg2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836000" y="1269001"/>
            <a:ext cx="2520000" cy="4469021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5299200" y="2124000"/>
            <a:ext cx="1598400" cy="279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99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65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7626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32"/>
          </p:nvPr>
        </p:nvSpPr>
        <p:spPr>
          <a:xfrm>
            <a:off x="9921000" y="2124000"/>
            <a:ext cx="1598400" cy="2790000"/>
          </a:xfrm>
          <a:prstGeom prst="rect">
            <a:avLst/>
          </a:prstGeom>
          <a:solidFill>
            <a:srgbClr val="C3D0ED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56E03B-D1A3-49D7-BDA2-2B1C473B90CE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96AD6E60-74C5-4EB7-8E6B-C46A5E42E562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724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441000" y="1224000"/>
            <a:ext cx="3015000" cy="526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3985347" y="2217600"/>
            <a:ext cx="1926309" cy="329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736000" y="1224000"/>
            <a:ext cx="3015000" cy="526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280347" y="2217600"/>
            <a:ext cx="1926309" cy="329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A95F-2646-46AB-92A0-FCDE59F0AF6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D17F44-06A8-423E-B0DF-AFA9D3366319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6148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1" y="1041189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0A18FA5-BB6A-4CAA-B99D-D389D6D3D91C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36575" y="1641353"/>
            <a:ext cx="11117263" cy="43133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86091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e App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00" y="0"/>
            <a:ext cx="5842000" cy="6858000"/>
          </a:xfrm>
          <a:prstGeom prst="rect">
            <a:avLst/>
          </a:prstGeom>
        </p:spPr>
      </p:pic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287200" y="1134000"/>
            <a:ext cx="2347200" cy="418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60" y="507600"/>
            <a:ext cx="5468541" cy="5847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5487209" cy="50906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E4D9D2-73BE-48E3-A286-419A1A9E7E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8CC9B5-0496-45A8-A223-C6F5B3064F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22019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26D462-3FA9-4B2E-87C6-3FF170DC516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80A4E95-8AA0-4749-BAB0-3AEE5DC94FAB}" type="datetime1">
              <a:rPr lang="en-US" smtClean="0"/>
              <a:t>10/17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5F73562-C31F-4EFD-92D8-787957F17CC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6350000" y="6323715"/>
            <a:ext cx="3662682" cy="245776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B2B0F2-80AA-46C0-832B-A7C809992C7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747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665600" y="1249200"/>
            <a:ext cx="2862000" cy="5194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188194" y="2242800"/>
            <a:ext cx="1818000" cy="32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CDCFD83-29A0-4266-8E72-C7872FCA40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7817DA-7F33-424A-9E90-78F25CED767C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0001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4"/>
          </p:nvPr>
        </p:nvSpPr>
        <p:spPr>
          <a:xfrm>
            <a:off x="8438400" y="1242000"/>
            <a:ext cx="2721600" cy="4899763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940799" y="2185037"/>
            <a:ext cx="1721485" cy="3072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894000" y="1000800"/>
            <a:ext cx="2988000" cy="53856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439027" y="2028827"/>
            <a:ext cx="1898648" cy="3352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6"/>
          </p:nvPr>
        </p:nvSpPr>
        <p:spPr>
          <a:xfrm>
            <a:off x="6057900" y="4183925"/>
            <a:ext cx="2114550" cy="211498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8"/>
          <p:cNvSpPr>
            <a:spLocks noGrp="1" noChangeAspect="1"/>
          </p:cNvSpPr>
          <p:nvPr>
            <p:ph type="pic" sz="quarter" idx="17"/>
          </p:nvPr>
        </p:nvSpPr>
        <p:spPr>
          <a:xfrm>
            <a:off x="6393077" y="4519616"/>
            <a:ext cx="1444199" cy="1443600"/>
          </a:xfrm>
          <a:prstGeom prst="roundRect">
            <a:avLst>
              <a:gd name="adj" fmla="val 24561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4AD55B3-D661-491A-8908-26DA58DF016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9B6B086-10BF-4ABA-BA3B-5416C2840D66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2172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pp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60" y="507600"/>
            <a:ext cx="6028441" cy="5847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8610600" y="442912"/>
            <a:ext cx="3489076" cy="5895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9246871" y="1569600"/>
            <a:ext cx="2214000" cy="367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565899" y="69850"/>
            <a:ext cx="3867785" cy="6535738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268400" y="1317600"/>
            <a:ext cx="2462400" cy="4071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Subtitle_half_left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6035849" cy="50906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9BB3C1-F184-4624-957C-11069899683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B2CB752-83FD-4F61-B2E3-E5EB2B6936F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580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t App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8256000" cy="6858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60" y="507600"/>
            <a:ext cx="5468541" cy="5847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803000" y="604800"/>
            <a:ext cx="4233600" cy="568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8570698" y="1576372"/>
            <a:ext cx="2787605" cy="37502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770800" y="36000"/>
            <a:ext cx="4784400" cy="66312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20"/>
          </p:nvPr>
        </p:nvSpPr>
        <p:spPr>
          <a:xfrm>
            <a:off x="6541027" y="1169231"/>
            <a:ext cx="3249949" cy="43722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Subtitle_half_left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5487209" cy="50906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EAD8AF-2D5F-41F9-A2CD-CC6CECFFB1B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76A19F56-A30B-407A-A2AB-BE2F7D94F3A8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172A04-22D3-430B-9A51-52297E6ACB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408CF4-5D69-473C-AD15-4EFAD292026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C21C60-F8F6-4713-9C3A-36A45EB422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538131-5352-4760-982F-4CF68C1370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419" y="6236307"/>
            <a:ext cx="10929600" cy="0"/>
          </a:xfrm>
          <a:custGeom>
            <a:avLst/>
            <a:gdLst>
              <a:gd name="connsiteX0" fmla="*/ 0 w 10579100"/>
              <a:gd name="connsiteY0" fmla="*/ 0 h 914400"/>
              <a:gd name="connsiteX1" fmla="*/ 10579100 w 10579100"/>
              <a:gd name="connsiteY1" fmla="*/ 0 h 914400"/>
              <a:gd name="connsiteX2" fmla="*/ 10579100 w 10579100"/>
              <a:gd name="connsiteY2" fmla="*/ 914400 h 914400"/>
              <a:gd name="connsiteX3" fmla="*/ 0 w 10579100"/>
              <a:gd name="connsiteY3" fmla="*/ 914400 h 914400"/>
              <a:gd name="connsiteX4" fmla="*/ 0 w 10579100"/>
              <a:gd name="connsiteY4" fmla="*/ 0 h 914400"/>
              <a:gd name="connsiteX0" fmla="*/ 10579100 w 10670540"/>
              <a:gd name="connsiteY0" fmla="*/ 914400 h 1005840"/>
              <a:gd name="connsiteX1" fmla="*/ 0 w 10670540"/>
              <a:gd name="connsiteY1" fmla="*/ 914400 h 1005840"/>
              <a:gd name="connsiteX2" fmla="*/ 0 w 10670540"/>
              <a:gd name="connsiteY2" fmla="*/ 0 h 1005840"/>
              <a:gd name="connsiteX3" fmla="*/ 10579100 w 10670540"/>
              <a:gd name="connsiteY3" fmla="*/ 0 h 1005840"/>
              <a:gd name="connsiteX4" fmla="*/ 10670540 w 10670540"/>
              <a:gd name="connsiteY4" fmla="*/ 1005840 h 1005840"/>
              <a:gd name="connsiteX0" fmla="*/ 10579100 w 10579100"/>
              <a:gd name="connsiteY0" fmla="*/ 914400 h 914400"/>
              <a:gd name="connsiteX1" fmla="*/ 0 w 10579100"/>
              <a:gd name="connsiteY1" fmla="*/ 914400 h 914400"/>
              <a:gd name="connsiteX2" fmla="*/ 0 w 10579100"/>
              <a:gd name="connsiteY2" fmla="*/ 0 h 914400"/>
              <a:gd name="connsiteX3" fmla="*/ 10579100 w 10579100"/>
              <a:gd name="connsiteY3" fmla="*/ 0 h 914400"/>
              <a:gd name="connsiteX0" fmla="*/ 0 w 10579100"/>
              <a:gd name="connsiteY0" fmla="*/ 914400 h 914400"/>
              <a:gd name="connsiteX1" fmla="*/ 0 w 10579100"/>
              <a:gd name="connsiteY1" fmla="*/ 0 h 914400"/>
              <a:gd name="connsiteX2" fmla="*/ 10579100 w 10579100"/>
              <a:gd name="connsiteY2" fmla="*/ 0 h 914400"/>
              <a:gd name="connsiteX0" fmla="*/ 0 w 10579100"/>
              <a:gd name="connsiteY0" fmla="*/ 0 h 0"/>
              <a:gd name="connsiteX1" fmla="*/ 10579100 w 10579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9100">
                <a:moveTo>
                  <a:pt x="0" y="0"/>
                </a:moveTo>
                <a:lnTo>
                  <a:pt x="10579100" y="0"/>
                </a:lnTo>
              </a:path>
            </a:pathLst>
          </a:custGeom>
          <a:ln w="9525">
            <a:solidFill>
              <a:schemeClr val="accent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4220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Ap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222800" y="1263600"/>
            <a:ext cx="3758400" cy="52092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825586" y="2152650"/>
            <a:ext cx="2553531" cy="3435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37458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CA4C63E-82B6-45AE-8E1B-5834946546C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04A4EF1-749B-41B1-BB3D-AC96E6E683ED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1803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t App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8256000" cy="6858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7460" y="507600"/>
            <a:ext cx="5468541" cy="5847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5810400" y="43200"/>
            <a:ext cx="6382800" cy="658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7176000" y="909000"/>
            <a:ext cx="5016000" cy="48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Subtitle_half_left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5487209" cy="50906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0B690F-AE10-4AC5-B742-38A87F78E8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D6D8294-CB5D-48A3-AF81-4EA0BC6DBA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34B0AC7-6DD4-4855-9315-77D5E5906070}" type="datetime1">
              <a:rPr lang="en-US" smtClean="0"/>
              <a:t>10/1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A0D8B-DB9A-446B-ABAF-4EB4825BAA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F990A2-3A3F-47BA-AA36-8341BD8C796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E72D59F-7C58-4F26-AF3E-6270031DCB52}"/>
              </a:ext>
            </a:extLst>
          </p:cNvPr>
          <p:cNvCxnSpPr>
            <a:cxnSpLocks/>
          </p:cNvCxnSpPr>
          <p:nvPr userDrawn="1"/>
        </p:nvCxnSpPr>
        <p:spPr>
          <a:xfrm>
            <a:off x="622301" y="6223334"/>
            <a:ext cx="109315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632207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44400" y="349200"/>
            <a:ext cx="6148800" cy="598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460" y="507600"/>
            <a:ext cx="6028441" cy="584775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493000" y="984250"/>
            <a:ext cx="4699000" cy="4578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6058709" cy="50906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78EDBA-32D1-4CAD-B6F5-A12817AA145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B3AE02C-E262-41A2-B956-573B419E8D6F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53138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7200" y="1652400"/>
            <a:ext cx="7480800" cy="4384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435101" y="2120901"/>
            <a:ext cx="5340349" cy="3346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D71CA83-4C14-4F76-8A2E-4BC45FED97B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E107578-9F60-4EE0-8F1A-A10C9CEE32A0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1397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30400" y="1411200"/>
            <a:ext cx="7930800" cy="469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861051" y="1911350"/>
            <a:ext cx="5664200" cy="3581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AE8933-31AB-4E36-AA2D-4C3A1404976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F2A2A57-A134-4A67-B20D-8A6D6DCCA21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778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A6BACF-7090-44BF-97BE-663BB3AB658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FFC14F3D-5BAB-4889-984E-742B115E2A6C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247A4BB-C49F-46C1-BC09-CB54BF7D332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7CD851-88CA-4B66-B127-8E6BFAD2CE2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811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&amp; Mob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30400" y="1411200"/>
            <a:ext cx="7930800" cy="469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861051" y="1911350"/>
            <a:ext cx="5664200" cy="3581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335780" y="1958400"/>
            <a:ext cx="2473200" cy="444960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786238" y="2800350"/>
            <a:ext cx="1576462" cy="2781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6F0666-F520-4269-B254-69D901F7443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F7869CE-968A-447D-A014-60B23ABD5026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5361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wse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184400" y="360000"/>
            <a:ext cx="9806400" cy="596265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473199" y="842963"/>
            <a:ext cx="9242425" cy="5195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A86E8-732D-41AD-8CBC-E4BE91507AC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C1B02AA-DA0A-4B28-BA6B-DE552E8A4D6E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940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ws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574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52800" y="878400"/>
            <a:ext cx="5868000" cy="5364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6000" y="1359001"/>
            <a:ext cx="5377846" cy="4625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5940000" y="878400"/>
            <a:ext cx="5868000" cy="5364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6186000" y="1359001"/>
            <a:ext cx="5377846" cy="4625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610000" y="324000"/>
            <a:ext cx="7048800" cy="6022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902178" y="859537"/>
            <a:ext cx="6478822" cy="5195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F243B8-8FCB-438F-B4A9-64F98C1EE60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C4CB5AB-A68F-4409-8AE1-B729AEDB8D4E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3541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ws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7900" y="1384300"/>
            <a:ext cx="5765800" cy="46863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357939" y="1943100"/>
            <a:ext cx="5186361" cy="3854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Work Sans 10 pt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11001375" cy="5090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85A0D-1399-471C-86C5-8E18B0508C2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FEE010B-D02B-4F12-AE1D-89F6CEFD56FE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8697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DC6AB9-8AB9-4FE9-8C42-F0F32AFF10C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785411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6563948"/>
      </p:ext>
    </p:extLst>
  </p:cSld>
  <p:clrMapOvr>
    <a:masterClrMapping/>
  </p:clrMapOvr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BB9A967-9DD9-4DD6-A720-46986134B1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26AF67B-92BD-47D2-A3EF-20A69A2E0092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0765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1" y="1041188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5189553"/>
      </p:ext>
    </p:extLst>
  </p:cSld>
  <p:clrMapOvr>
    <a:masterClrMapping/>
  </p:clrMapOvr>
  <p:hf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7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6401" y="1041188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4EAAC-FB47-49ED-97B6-A5D15BB5B0B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95F111-8597-4705-A658-A748EE2E7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36575" y="1641353"/>
            <a:ext cx="11117263" cy="43133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1881294"/>
      </p:ext>
    </p:extLst>
  </p:cSld>
  <p:clrMapOvr>
    <a:masterClrMapping/>
  </p:clrMapOvr>
  <p:hf hd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A6BACF-7090-44BF-97BE-663BB3AB658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247A4BB-C49F-46C1-BC09-CB54BF7D332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7CD851-88CA-4B66-B127-8E6BFAD2CE2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2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550882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7" y="3517414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3" y="1579582"/>
            <a:ext cx="4577005" cy="1077218"/>
          </a:xfrm>
          <a:solidFill>
            <a:srgbClr val="333536">
              <a:alpha val="0"/>
            </a:srgbClr>
          </a:solidFill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1B7C1B9-2095-4997-AB3E-0290BD55F2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012" y="769976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010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550882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7" y="3517414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3" y="1579582"/>
            <a:ext cx="4577005" cy="1077218"/>
          </a:xfrm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1B7C1B9-2095-4997-AB3E-0290BD55F21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012" y="769976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4995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6286500" y="550882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6499" y="3517414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6582054" y="1579582"/>
            <a:ext cx="4577005" cy="1077218"/>
          </a:xfrm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7324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2669242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7" y="5635774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3" y="3697942"/>
            <a:ext cx="4577005" cy="1077218"/>
          </a:xfrm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3851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6286500" y="2669242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6499" y="5635774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6582054" y="3697942"/>
            <a:ext cx="4577005" cy="1077218"/>
          </a:xfrm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BB6D16-F747-419C-9060-5243FEE6BAC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2055" y="3035642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7452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2874982"/>
            <a:ext cx="5976937" cy="2729847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8" y="5680970"/>
            <a:ext cx="4564758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4" y="3903682"/>
            <a:ext cx="5452036" cy="1077218"/>
          </a:xfrm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E5CC6E-16C7-4467-A9C0-AC40766B861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014" y="3182895"/>
            <a:ext cx="1668424" cy="49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341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AC14F98-EB08-4070-A49C-A8A25D76B6E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838D46C-1FA0-4C20-A3A5-A71F44DAB3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59" y="2404368"/>
            <a:ext cx="11117083" cy="707886"/>
          </a:xfrm>
        </p:spPr>
        <p:txBody>
          <a:bodyPr/>
          <a:lstStyle>
            <a:lvl1pPr>
              <a:defRPr sz="40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37459" y="1837479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9" y="4305453"/>
            <a:ext cx="4356100" cy="309562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30587781"/>
      </p:ext>
    </p:extLst>
  </p:cSld>
  <p:clrMapOvr>
    <a:masterClrMapping/>
  </p:clrMapOvr>
  <p:hf hd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Ope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21EBD52-9DDE-4C3D-BF91-2DD57BB3A21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37458" y="1837479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8" y="4519220"/>
            <a:ext cx="5097324" cy="395756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07BD00-5D13-4A3C-90DA-C226C07456C8}"/>
              </a:ext>
            </a:extLst>
          </p:cNvPr>
          <p:cNvSpPr/>
          <p:nvPr/>
        </p:nvSpPr>
        <p:spPr>
          <a:xfrm>
            <a:off x="5635487" y="1938130"/>
            <a:ext cx="921028" cy="944218"/>
          </a:xfrm>
          <a:prstGeom prst="rect">
            <a:avLst/>
          </a:prstGeom>
          <a:solidFill>
            <a:srgbClr val="2121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58" y="2404368"/>
            <a:ext cx="6996402" cy="1323439"/>
          </a:xfrm>
        </p:spPr>
        <p:txBody>
          <a:bodyPr/>
          <a:lstStyle>
            <a:lvl1pPr>
              <a:defRPr sz="40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BB25C1C-6629-4BA4-9851-F12F6AFDD6B6}"/>
              </a:ext>
            </a:extLst>
          </p:cNvPr>
          <p:cNvGrpSpPr/>
          <p:nvPr/>
        </p:nvGrpSpPr>
        <p:grpSpPr>
          <a:xfrm>
            <a:off x="537458" y="4255715"/>
            <a:ext cx="612430" cy="125486"/>
            <a:chOff x="575859" y="4778289"/>
            <a:chExt cx="887181" cy="181782"/>
          </a:xfrm>
          <a:solidFill>
            <a:schemeClr val="accent4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F9D0966-B22F-47C2-BA2B-ECBA03B6232D}"/>
                </a:ext>
              </a:extLst>
            </p:cNvPr>
            <p:cNvSpPr/>
            <p:nvPr/>
          </p:nvSpPr>
          <p:spPr>
            <a:xfrm>
              <a:off x="575859" y="4778289"/>
              <a:ext cx="181782" cy="18178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800">
                <a:solidFill>
                  <a:prstClr val="white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14F64AA-4A70-49BD-9FA1-7F42629FCA3C}"/>
                </a:ext>
              </a:extLst>
            </p:cNvPr>
            <p:cNvSpPr/>
            <p:nvPr/>
          </p:nvSpPr>
          <p:spPr>
            <a:xfrm>
              <a:off x="845820" y="4788492"/>
              <a:ext cx="617220" cy="16137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E003E77-5EC9-4043-82E6-DA753DA68411}"/>
              </a:ext>
            </a:extLst>
          </p:cNvPr>
          <p:cNvGrpSpPr/>
          <p:nvPr/>
        </p:nvGrpSpPr>
        <p:grpSpPr>
          <a:xfrm>
            <a:off x="537459" y="668337"/>
            <a:ext cx="1833583" cy="527240"/>
            <a:chOff x="522288" y="496888"/>
            <a:chExt cx="866775" cy="249238"/>
          </a:xfrm>
          <a:solidFill>
            <a:schemeClr val="accent2"/>
          </a:solidFill>
        </p:grpSpPr>
        <p:sp>
          <p:nvSpPr>
            <p:cNvPr id="17" name="Rectangle 5">
              <a:extLst>
                <a:ext uri="{FF2B5EF4-FFF2-40B4-BE49-F238E27FC236}">
                  <a16:creationId xmlns:a16="http://schemas.microsoft.com/office/drawing/2014/main" id="{D171461C-7E11-4727-BC70-1A3E99B78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4100" y="500063"/>
              <a:ext cx="38100" cy="244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rgbClr val="000000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DCB1985-1E91-4176-A736-EDBF686BA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500063"/>
              <a:ext cx="106363" cy="244475"/>
            </a:xfrm>
            <a:custGeom>
              <a:avLst/>
              <a:gdLst>
                <a:gd name="T0" fmla="*/ 0 w 67"/>
                <a:gd name="T1" fmla="*/ 0 h 154"/>
                <a:gd name="T2" fmla="*/ 0 w 67"/>
                <a:gd name="T3" fmla="*/ 22 h 154"/>
                <a:gd name="T4" fmla="*/ 44 w 67"/>
                <a:gd name="T5" fmla="*/ 22 h 154"/>
                <a:gd name="T6" fmla="*/ 44 w 67"/>
                <a:gd name="T7" fmla="*/ 154 h 154"/>
                <a:gd name="T8" fmla="*/ 67 w 67"/>
                <a:gd name="T9" fmla="*/ 154 h 154"/>
                <a:gd name="T10" fmla="*/ 67 w 67"/>
                <a:gd name="T11" fmla="*/ 22 h 154"/>
                <a:gd name="T12" fmla="*/ 67 w 67"/>
                <a:gd name="T13" fmla="*/ 0 h 154"/>
                <a:gd name="T14" fmla="*/ 0 w 67"/>
                <a:gd name="T1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154">
                  <a:moveTo>
                    <a:pt x="0" y="0"/>
                  </a:moveTo>
                  <a:lnTo>
                    <a:pt x="0" y="22"/>
                  </a:lnTo>
                  <a:lnTo>
                    <a:pt x="44" y="22"/>
                  </a:lnTo>
                  <a:lnTo>
                    <a:pt x="44" y="154"/>
                  </a:lnTo>
                  <a:lnTo>
                    <a:pt x="67" y="154"/>
                  </a:lnTo>
                  <a:lnTo>
                    <a:pt x="67" y="22"/>
                  </a:lnTo>
                  <a:lnTo>
                    <a:pt x="6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rgbClr val="000000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BA7B760-C9CC-4119-BE9E-1F211E9518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575" y="500063"/>
              <a:ext cx="176213" cy="244475"/>
            </a:xfrm>
            <a:custGeom>
              <a:avLst/>
              <a:gdLst>
                <a:gd name="T0" fmla="*/ 411 w 471"/>
                <a:gd name="T1" fmla="*/ 58 h 648"/>
                <a:gd name="T2" fmla="*/ 249 w 471"/>
                <a:gd name="T3" fmla="*/ 0 h 648"/>
                <a:gd name="T4" fmla="*/ 0 w 471"/>
                <a:gd name="T5" fmla="*/ 0 h 648"/>
                <a:gd name="T6" fmla="*/ 0 w 471"/>
                <a:gd name="T7" fmla="*/ 648 h 648"/>
                <a:gd name="T8" fmla="*/ 101 w 471"/>
                <a:gd name="T9" fmla="*/ 648 h 648"/>
                <a:gd name="T10" fmla="*/ 101 w 471"/>
                <a:gd name="T11" fmla="*/ 422 h 648"/>
                <a:gd name="T12" fmla="*/ 242 w 471"/>
                <a:gd name="T13" fmla="*/ 422 h 648"/>
                <a:gd name="T14" fmla="*/ 409 w 471"/>
                <a:gd name="T15" fmla="*/ 365 h 648"/>
                <a:gd name="T16" fmla="*/ 471 w 471"/>
                <a:gd name="T17" fmla="*/ 210 h 648"/>
                <a:gd name="T18" fmla="*/ 411 w 471"/>
                <a:gd name="T19" fmla="*/ 58 h 648"/>
                <a:gd name="T20" fmla="*/ 365 w 471"/>
                <a:gd name="T21" fmla="*/ 210 h 648"/>
                <a:gd name="T22" fmla="*/ 331 w 471"/>
                <a:gd name="T23" fmla="*/ 296 h 648"/>
                <a:gd name="T24" fmla="*/ 233 w 471"/>
                <a:gd name="T25" fmla="*/ 327 h 648"/>
                <a:gd name="T26" fmla="*/ 101 w 471"/>
                <a:gd name="T27" fmla="*/ 327 h 648"/>
                <a:gd name="T28" fmla="*/ 101 w 471"/>
                <a:gd name="T29" fmla="*/ 95 h 648"/>
                <a:gd name="T30" fmla="*/ 239 w 471"/>
                <a:gd name="T31" fmla="*/ 95 h 648"/>
                <a:gd name="T32" fmla="*/ 331 w 471"/>
                <a:gd name="T33" fmla="*/ 126 h 648"/>
                <a:gd name="T34" fmla="*/ 365 w 471"/>
                <a:gd name="T35" fmla="*/ 21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1" h="648">
                  <a:moveTo>
                    <a:pt x="411" y="58"/>
                  </a:moveTo>
                  <a:cubicBezTo>
                    <a:pt x="370" y="20"/>
                    <a:pt x="316" y="0"/>
                    <a:pt x="24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48"/>
                    <a:pt x="0" y="648"/>
                    <a:pt x="0" y="648"/>
                  </a:cubicBezTo>
                  <a:cubicBezTo>
                    <a:pt x="101" y="648"/>
                    <a:pt x="101" y="648"/>
                    <a:pt x="101" y="648"/>
                  </a:cubicBezTo>
                  <a:cubicBezTo>
                    <a:pt x="101" y="422"/>
                    <a:pt x="101" y="422"/>
                    <a:pt x="101" y="422"/>
                  </a:cubicBezTo>
                  <a:cubicBezTo>
                    <a:pt x="242" y="422"/>
                    <a:pt x="242" y="422"/>
                    <a:pt x="242" y="422"/>
                  </a:cubicBezTo>
                  <a:cubicBezTo>
                    <a:pt x="313" y="422"/>
                    <a:pt x="369" y="403"/>
                    <a:pt x="409" y="365"/>
                  </a:cubicBezTo>
                  <a:cubicBezTo>
                    <a:pt x="450" y="327"/>
                    <a:pt x="471" y="275"/>
                    <a:pt x="471" y="210"/>
                  </a:cubicBezTo>
                  <a:cubicBezTo>
                    <a:pt x="471" y="148"/>
                    <a:pt x="451" y="97"/>
                    <a:pt x="411" y="58"/>
                  </a:cubicBezTo>
                  <a:moveTo>
                    <a:pt x="365" y="210"/>
                  </a:moveTo>
                  <a:cubicBezTo>
                    <a:pt x="365" y="247"/>
                    <a:pt x="354" y="276"/>
                    <a:pt x="331" y="296"/>
                  </a:cubicBezTo>
                  <a:cubicBezTo>
                    <a:pt x="308" y="317"/>
                    <a:pt x="275" y="327"/>
                    <a:pt x="233" y="327"/>
                  </a:cubicBezTo>
                  <a:cubicBezTo>
                    <a:pt x="101" y="327"/>
                    <a:pt x="101" y="327"/>
                    <a:pt x="101" y="32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78" y="95"/>
                    <a:pt x="309" y="106"/>
                    <a:pt x="331" y="126"/>
                  </a:cubicBezTo>
                  <a:cubicBezTo>
                    <a:pt x="354" y="146"/>
                    <a:pt x="365" y="174"/>
                    <a:pt x="365" y="2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rgbClr val="000000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9D52E03-D7AD-4990-8226-88567044F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463" y="500063"/>
              <a:ext cx="182563" cy="244475"/>
            </a:xfrm>
            <a:custGeom>
              <a:avLst/>
              <a:gdLst>
                <a:gd name="T0" fmla="*/ 53 w 115"/>
                <a:gd name="T1" fmla="*/ 75 h 154"/>
                <a:gd name="T2" fmla="*/ 115 w 115"/>
                <a:gd name="T3" fmla="*/ 0 h 154"/>
                <a:gd name="T4" fmla="*/ 86 w 115"/>
                <a:gd name="T5" fmla="*/ 0 h 154"/>
                <a:gd name="T6" fmla="*/ 34 w 115"/>
                <a:gd name="T7" fmla="*/ 64 h 154"/>
                <a:gd name="T8" fmla="*/ 34 w 115"/>
                <a:gd name="T9" fmla="*/ 64 h 154"/>
                <a:gd name="T10" fmla="*/ 33 w 115"/>
                <a:gd name="T11" fmla="*/ 64 h 154"/>
                <a:gd name="T12" fmla="*/ 24 w 115"/>
                <a:gd name="T13" fmla="*/ 64 h 154"/>
                <a:gd name="T14" fmla="*/ 24 w 115"/>
                <a:gd name="T15" fmla="*/ 51 h 154"/>
                <a:gd name="T16" fmla="*/ 24 w 115"/>
                <a:gd name="T17" fmla="*/ 19 h 154"/>
                <a:gd name="T18" fmla="*/ 24 w 115"/>
                <a:gd name="T19" fmla="*/ 0 h 154"/>
                <a:gd name="T20" fmla="*/ 23 w 115"/>
                <a:gd name="T21" fmla="*/ 0 h 154"/>
                <a:gd name="T22" fmla="*/ 0 w 115"/>
                <a:gd name="T23" fmla="*/ 0 h 154"/>
                <a:gd name="T24" fmla="*/ 0 w 115"/>
                <a:gd name="T25" fmla="*/ 19 h 154"/>
                <a:gd name="T26" fmla="*/ 0 w 115"/>
                <a:gd name="T27" fmla="*/ 51 h 154"/>
                <a:gd name="T28" fmla="*/ 0 w 115"/>
                <a:gd name="T29" fmla="*/ 64 h 154"/>
                <a:gd name="T30" fmla="*/ 0 w 115"/>
                <a:gd name="T31" fmla="*/ 86 h 154"/>
                <a:gd name="T32" fmla="*/ 0 w 115"/>
                <a:gd name="T33" fmla="*/ 109 h 154"/>
                <a:gd name="T34" fmla="*/ 24 w 115"/>
                <a:gd name="T35" fmla="*/ 109 h 154"/>
                <a:gd name="T36" fmla="*/ 24 w 115"/>
                <a:gd name="T37" fmla="*/ 86 h 154"/>
                <a:gd name="T38" fmla="*/ 34 w 115"/>
                <a:gd name="T39" fmla="*/ 86 h 154"/>
                <a:gd name="T40" fmla="*/ 44 w 115"/>
                <a:gd name="T41" fmla="*/ 98 h 154"/>
                <a:gd name="T42" fmla="*/ 88 w 115"/>
                <a:gd name="T43" fmla="*/ 154 h 154"/>
                <a:gd name="T44" fmla="*/ 115 w 115"/>
                <a:gd name="T45" fmla="*/ 154 h 154"/>
                <a:gd name="T46" fmla="*/ 53 w 115"/>
                <a:gd name="T47" fmla="*/ 7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5" h="154">
                  <a:moveTo>
                    <a:pt x="53" y="75"/>
                  </a:moveTo>
                  <a:lnTo>
                    <a:pt x="115" y="0"/>
                  </a:lnTo>
                  <a:lnTo>
                    <a:pt x="86" y="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3" y="64"/>
                  </a:lnTo>
                  <a:lnTo>
                    <a:pt x="24" y="64"/>
                  </a:lnTo>
                  <a:lnTo>
                    <a:pt x="24" y="51"/>
                  </a:lnTo>
                  <a:lnTo>
                    <a:pt x="24" y="19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51"/>
                  </a:lnTo>
                  <a:lnTo>
                    <a:pt x="0" y="64"/>
                  </a:lnTo>
                  <a:lnTo>
                    <a:pt x="0" y="86"/>
                  </a:lnTo>
                  <a:lnTo>
                    <a:pt x="0" y="109"/>
                  </a:lnTo>
                  <a:lnTo>
                    <a:pt x="24" y="109"/>
                  </a:lnTo>
                  <a:lnTo>
                    <a:pt x="24" y="86"/>
                  </a:lnTo>
                  <a:lnTo>
                    <a:pt x="34" y="86"/>
                  </a:lnTo>
                  <a:lnTo>
                    <a:pt x="44" y="98"/>
                  </a:lnTo>
                  <a:lnTo>
                    <a:pt x="88" y="154"/>
                  </a:lnTo>
                  <a:lnTo>
                    <a:pt x="115" y="154"/>
                  </a:lnTo>
                  <a:lnTo>
                    <a:pt x="53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rgbClr val="000000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D48C1F2-89B1-4202-8201-04D58C387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613" y="496888"/>
              <a:ext cx="44450" cy="42863"/>
            </a:xfrm>
            <a:custGeom>
              <a:avLst/>
              <a:gdLst>
                <a:gd name="T0" fmla="*/ 73 w 119"/>
                <a:gd name="T1" fmla="*/ 4 h 114"/>
                <a:gd name="T2" fmla="*/ 30 w 119"/>
                <a:gd name="T3" fmla="*/ 9 h 114"/>
                <a:gd name="T4" fmla="*/ 4 w 119"/>
                <a:gd name="T5" fmla="*/ 43 h 114"/>
                <a:gd name="T6" fmla="*/ 9 w 119"/>
                <a:gd name="T7" fmla="*/ 85 h 114"/>
                <a:gd name="T8" fmla="*/ 43 w 119"/>
                <a:gd name="T9" fmla="*/ 112 h 114"/>
                <a:gd name="T10" fmla="*/ 57 w 119"/>
                <a:gd name="T11" fmla="*/ 114 h 114"/>
                <a:gd name="T12" fmla="*/ 111 w 119"/>
                <a:gd name="T13" fmla="*/ 73 h 114"/>
                <a:gd name="T14" fmla="*/ 73 w 119"/>
                <a:gd name="T15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114">
                  <a:moveTo>
                    <a:pt x="73" y="4"/>
                  </a:moveTo>
                  <a:cubicBezTo>
                    <a:pt x="59" y="0"/>
                    <a:pt x="44" y="2"/>
                    <a:pt x="30" y="9"/>
                  </a:cubicBezTo>
                  <a:cubicBezTo>
                    <a:pt x="17" y="17"/>
                    <a:pt x="8" y="29"/>
                    <a:pt x="4" y="43"/>
                  </a:cubicBezTo>
                  <a:cubicBezTo>
                    <a:pt x="0" y="57"/>
                    <a:pt x="1" y="72"/>
                    <a:pt x="9" y="85"/>
                  </a:cubicBezTo>
                  <a:cubicBezTo>
                    <a:pt x="16" y="98"/>
                    <a:pt x="28" y="107"/>
                    <a:pt x="43" y="112"/>
                  </a:cubicBezTo>
                  <a:cubicBezTo>
                    <a:pt x="48" y="113"/>
                    <a:pt x="52" y="114"/>
                    <a:pt x="57" y="114"/>
                  </a:cubicBezTo>
                  <a:cubicBezTo>
                    <a:pt x="81" y="114"/>
                    <a:pt x="104" y="97"/>
                    <a:pt x="111" y="73"/>
                  </a:cubicBezTo>
                  <a:cubicBezTo>
                    <a:pt x="119" y="44"/>
                    <a:pt x="102" y="12"/>
                    <a:pt x="73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83419930-EB06-420C-9C85-6453A218E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88" y="703263"/>
              <a:ext cx="42863" cy="42863"/>
            </a:xfrm>
            <a:custGeom>
              <a:avLst/>
              <a:gdLst>
                <a:gd name="T0" fmla="*/ 74 w 115"/>
                <a:gd name="T1" fmla="*/ 4 h 114"/>
                <a:gd name="T2" fmla="*/ 31 w 115"/>
                <a:gd name="T3" fmla="*/ 9 h 114"/>
                <a:gd name="T4" fmla="*/ 4 w 115"/>
                <a:gd name="T5" fmla="*/ 43 h 114"/>
                <a:gd name="T6" fmla="*/ 9 w 115"/>
                <a:gd name="T7" fmla="*/ 85 h 114"/>
                <a:gd name="T8" fmla="*/ 43 w 115"/>
                <a:gd name="T9" fmla="*/ 112 h 114"/>
                <a:gd name="T10" fmla="*/ 58 w 115"/>
                <a:gd name="T11" fmla="*/ 114 h 114"/>
                <a:gd name="T12" fmla="*/ 111 w 115"/>
                <a:gd name="T13" fmla="*/ 74 h 114"/>
                <a:gd name="T14" fmla="*/ 106 w 115"/>
                <a:gd name="T15" fmla="*/ 31 h 114"/>
                <a:gd name="T16" fmla="*/ 74 w 115"/>
                <a:gd name="T17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14">
                  <a:moveTo>
                    <a:pt x="74" y="4"/>
                  </a:moveTo>
                  <a:cubicBezTo>
                    <a:pt x="59" y="0"/>
                    <a:pt x="44" y="2"/>
                    <a:pt x="31" y="9"/>
                  </a:cubicBezTo>
                  <a:cubicBezTo>
                    <a:pt x="18" y="17"/>
                    <a:pt x="8" y="29"/>
                    <a:pt x="4" y="43"/>
                  </a:cubicBezTo>
                  <a:cubicBezTo>
                    <a:pt x="0" y="57"/>
                    <a:pt x="2" y="72"/>
                    <a:pt x="9" y="85"/>
                  </a:cubicBezTo>
                  <a:cubicBezTo>
                    <a:pt x="17" y="98"/>
                    <a:pt x="29" y="108"/>
                    <a:pt x="43" y="112"/>
                  </a:cubicBezTo>
                  <a:cubicBezTo>
                    <a:pt x="48" y="113"/>
                    <a:pt x="53" y="114"/>
                    <a:pt x="58" y="114"/>
                  </a:cubicBezTo>
                  <a:cubicBezTo>
                    <a:pt x="82" y="114"/>
                    <a:pt x="105" y="98"/>
                    <a:pt x="111" y="74"/>
                  </a:cubicBezTo>
                  <a:cubicBezTo>
                    <a:pt x="115" y="59"/>
                    <a:pt x="114" y="44"/>
                    <a:pt x="106" y="31"/>
                  </a:cubicBezTo>
                  <a:cubicBezTo>
                    <a:pt x="99" y="18"/>
                    <a:pt x="88" y="8"/>
                    <a:pt x="74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7774594"/>
      </p:ext>
    </p:extLst>
  </p:cSld>
  <p:clrMapOvr>
    <a:masterClrMapping/>
  </p:clrMapOvr>
  <p:hf hdr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87CF25C-82C5-4E39-9DBF-813F29A7D8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5191984" y="0"/>
            <a:ext cx="7000015" cy="6858000"/>
          </a:xfrm>
          <a:prstGeom prst="rect">
            <a:avLst/>
          </a:prstGeom>
        </p:spPr>
      </p:pic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93776" y="1837479"/>
            <a:ext cx="1705898" cy="373170"/>
          </a:xfrm>
          <a:prstGeom prst="rect">
            <a:avLst/>
          </a:prstGeom>
          <a:solidFill>
            <a:schemeClr val="accent1"/>
          </a:solidFill>
        </p:spPr>
        <p:txBody>
          <a:bodyPr wrap="none" lIns="324000" tIns="36000" rIns="324000" bIns="36000" anchor="ctr" anchorCtr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  <a:latin typeface="+mj-lt"/>
                <a:ea typeface="Work Sans" panose="00000500000000000000" pitchFamily="2" charset="0"/>
                <a:cs typeface="Work Sans" panose="00000500000000000000" pitchFamily="2" charset="0"/>
              </a:defRPr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3776" y="4577566"/>
            <a:ext cx="5097324" cy="395756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07BD00-5D13-4A3C-90DA-C226C07456C8}"/>
              </a:ext>
            </a:extLst>
          </p:cNvPr>
          <p:cNvSpPr/>
          <p:nvPr/>
        </p:nvSpPr>
        <p:spPr>
          <a:xfrm>
            <a:off x="4909930" y="2223653"/>
            <a:ext cx="2514600" cy="1592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493776" y="2397865"/>
            <a:ext cx="6996402" cy="1323439"/>
          </a:xfrm>
        </p:spPr>
        <p:txBody>
          <a:bodyPr/>
          <a:lstStyle>
            <a:lvl1pPr>
              <a:defRPr sz="4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9881018-9257-4330-ACBD-1BA79AA27977}"/>
              </a:ext>
            </a:extLst>
          </p:cNvPr>
          <p:cNvSpPr/>
          <p:nvPr/>
        </p:nvSpPr>
        <p:spPr>
          <a:xfrm>
            <a:off x="3793657" y="600"/>
            <a:ext cx="2514600" cy="9933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78D1809-26DB-4EAB-B9FE-A9F69EA3676B}"/>
              </a:ext>
            </a:extLst>
          </p:cNvPr>
          <p:cNvGrpSpPr/>
          <p:nvPr/>
        </p:nvGrpSpPr>
        <p:grpSpPr>
          <a:xfrm>
            <a:off x="493776" y="4255715"/>
            <a:ext cx="612430" cy="125486"/>
            <a:chOff x="575859" y="4778289"/>
            <a:chExt cx="887181" cy="181782"/>
          </a:xfrm>
          <a:solidFill>
            <a:schemeClr val="accent4"/>
          </a:solidFill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4E08BE1-618C-49D8-B7EF-C3C543F809DA}"/>
                </a:ext>
              </a:extLst>
            </p:cNvPr>
            <p:cNvSpPr/>
            <p:nvPr/>
          </p:nvSpPr>
          <p:spPr>
            <a:xfrm>
              <a:off x="575859" y="4778289"/>
              <a:ext cx="181782" cy="18178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800">
                <a:solidFill>
                  <a:prstClr val="white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A3BF6B8-D820-4EF1-9D81-6550D585FB39}"/>
                </a:ext>
              </a:extLst>
            </p:cNvPr>
            <p:cNvSpPr/>
            <p:nvPr/>
          </p:nvSpPr>
          <p:spPr>
            <a:xfrm>
              <a:off x="845820" y="4788492"/>
              <a:ext cx="617220" cy="16137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A045D3C-8236-4AEA-9D24-B742D74089AF}"/>
              </a:ext>
            </a:extLst>
          </p:cNvPr>
          <p:cNvGrpSpPr/>
          <p:nvPr/>
        </p:nvGrpSpPr>
        <p:grpSpPr>
          <a:xfrm>
            <a:off x="493777" y="668337"/>
            <a:ext cx="1833583" cy="527240"/>
            <a:chOff x="522288" y="496888"/>
            <a:chExt cx="866775" cy="249238"/>
          </a:xfrm>
          <a:solidFill>
            <a:schemeClr val="tx1"/>
          </a:solidFill>
        </p:grpSpPr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79A4EA13-CF31-48DE-96E1-28BADD2F2C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4100" y="500063"/>
              <a:ext cx="38100" cy="244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rgbClr val="000000"/>
                </a:solidFill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5A1E693-B34D-4A8B-9209-B9B03E4A1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500063"/>
              <a:ext cx="106363" cy="244475"/>
            </a:xfrm>
            <a:custGeom>
              <a:avLst/>
              <a:gdLst>
                <a:gd name="T0" fmla="*/ 0 w 67"/>
                <a:gd name="T1" fmla="*/ 0 h 154"/>
                <a:gd name="T2" fmla="*/ 0 w 67"/>
                <a:gd name="T3" fmla="*/ 22 h 154"/>
                <a:gd name="T4" fmla="*/ 44 w 67"/>
                <a:gd name="T5" fmla="*/ 22 h 154"/>
                <a:gd name="T6" fmla="*/ 44 w 67"/>
                <a:gd name="T7" fmla="*/ 154 h 154"/>
                <a:gd name="T8" fmla="*/ 67 w 67"/>
                <a:gd name="T9" fmla="*/ 154 h 154"/>
                <a:gd name="T10" fmla="*/ 67 w 67"/>
                <a:gd name="T11" fmla="*/ 22 h 154"/>
                <a:gd name="T12" fmla="*/ 67 w 67"/>
                <a:gd name="T13" fmla="*/ 0 h 154"/>
                <a:gd name="T14" fmla="*/ 0 w 67"/>
                <a:gd name="T1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154">
                  <a:moveTo>
                    <a:pt x="0" y="0"/>
                  </a:moveTo>
                  <a:lnTo>
                    <a:pt x="0" y="22"/>
                  </a:lnTo>
                  <a:lnTo>
                    <a:pt x="44" y="22"/>
                  </a:lnTo>
                  <a:lnTo>
                    <a:pt x="44" y="154"/>
                  </a:lnTo>
                  <a:lnTo>
                    <a:pt x="67" y="154"/>
                  </a:lnTo>
                  <a:lnTo>
                    <a:pt x="67" y="22"/>
                  </a:lnTo>
                  <a:lnTo>
                    <a:pt x="6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rgbClr val="000000"/>
                </a:solidFill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6B23526B-DCF2-4446-A8DF-97A4358555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575" y="500063"/>
              <a:ext cx="176213" cy="244475"/>
            </a:xfrm>
            <a:custGeom>
              <a:avLst/>
              <a:gdLst>
                <a:gd name="T0" fmla="*/ 411 w 471"/>
                <a:gd name="T1" fmla="*/ 58 h 648"/>
                <a:gd name="T2" fmla="*/ 249 w 471"/>
                <a:gd name="T3" fmla="*/ 0 h 648"/>
                <a:gd name="T4" fmla="*/ 0 w 471"/>
                <a:gd name="T5" fmla="*/ 0 h 648"/>
                <a:gd name="T6" fmla="*/ 0 w 471"/>
                <a:gd name="T7" fmla="*/ 648 h 648"/>
                <a:gd name="T8" fmla="*/ 101 w 471"/>
                <a:gd name="T9" fmla="*/ 648 h 648"/>
                <a:gd name="T10" fmla="*/ 101 w 471"/>
                <a:gd name="T11" fmla="*/ 422 h 648"/>
                <a:gd name="T12" fmla="*/ 242 w 471"/>
                <a:gd name="T13" fmla="*/ 422 h 648"/>
                <a:gd name="T14" fmla="*/ 409 w 471"/>
                <a:gd name="T15" fmla="*/ 365 h 648"/>
                <a:gd name="T16" fmla="*/ 471 w 471"/>
                <a:gd name="T17" fmla="*/ 210 h 648"/>
                <a:gd name="T18" fmla="*/ 411 w 471"/>
                <a:gd name="T19" fmla="*/ 58 h 648"/>
                <a:gd name="T20" fmla="*/ 365 w 471"/>
                <a:gd name="T21" fmla="*/ 210 h 648"/>
                <a:gd name="T22" fmla="*/ 331 w 471"/>
                <a:gd name="T23" fmla="*/ 296 h 648"/>
                <a:gd name="T24" fmla="*/ 233 w 471"/>
                <a:gd name="T25" fmla="*/ 327 h 648"/>
                <a:gd name="T26" fmla="*/ 101 w 471"/>
                <a:gd name="T27" fmla="*/ 327 h 648"/>
                <a:gd name="T28" fmla="*/ 101 w 471"/>
                <a:gd name="T29" fmla="*/ 95 h 648"/>
                <a:gd name="T30" fmla="*/ 239 w 471"/>
                <a:gd name="T31" fmla="*/ 95 h 648"/>
                <a:gd name="T32" fmla="*/ 331 w 471"/>
                <a:gd name="T33" fmla="*/ 126 h 648"/>
                <a:gd name="T34" fmla="*/ 365 w 471"/>
                <a:gd name="T35" fmla="*/ 21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1" h="648">
                  <a:moveTo>
                    <a:pt x="411" y="58"/>
                  </a:moveTo>
                  <a:cubicBezTo>
                    <a:pt x="370" y="20"/>
                    <a:pt x="316" y="0"/>
                    <a:pt x="24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48"/>
                    <a:pt x="0" y="648"/>
                    <a:pt x="0" y="648"/>
                  </a:cubicBezTo>
                  <a:cubicBezTo>
                    <a:pt x="101" y="648"/>
                    <a:pt x="101" y="648"/>
                    <a:pt x="101" y="648"/>
                  </a:cubicBezTo>
                  <a:cubicBezTo>
                    <a:pt x="101" y="422"/>
                    <a:pt x="101" y="422"/>
                    <a:pt x="101" y="422"/>
                  </a:cubicBezTo>
                  <a:cubicBezTo>
                    <a:pt x="242" y="422"/>
                    <a:pt x="242" y="422"/>
                    <a:pt x="242" y="422"/>
                  </a:cubicBezTo>
                  <a:cubicBezTo>
                    <a:pt x="313" y="422"/>
                    <a:pt x="369" y="403"/>
                    <a:pt x="409" y="365"/>
                  </a:cubicBezTo>
                  <a:cubicBezTo>
                    <a:pt x="450" y="327"/>
                    <a:pt x="471" y="275"/>
                    <a:pt x="471" y="210"/>
                  </a:cubicBezTo>
                  <a:cubicBezTo>
                    <a:pt x="471" y="148"/>
                    <a:pt x="451" y="97"/>
                    <a:pt x="411" y="58"/>
                  </a:cubicBezTo>
                  <a:moveTo>
                    <a:pt x="365" y="210"/>
                  </a:moveTo>
                  <a:cubicBezTo>
                    <a:pt x="365" y="247"/>
                    <a:pt x="354" y="276"/>
                    <a:pt x="331" y="296"/>
                  </a:cubicBezTo>
                  <a:cubicBezTo>
                    <a:pt x="308" y="317"/>
                    <a:pt x="275" y="327"/>
                    <a:pt x="233" y="327"/>
                  </a:cubicBezTo>
                  <a:cubicBezTo>
                    <a:pt x="101" y="327"/>
                    <a:pt x="101" y="327"/>
                    <a:pt x="101" y="32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78" y="95"/>
                    <a:pt x="309" y="106"/>
                    <a:pt x="331" y="126"/>
                  </a:cubicBezTo>
                  <a:cubicBezTo>
                    <a:pt x="354" y="146"/>
                    <a:pt x="365" y="174"/>
                    <a:pt x="365" y="2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rgbClr val="000000"/>
                </a:solidFill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55C3E40B-FD7B-49C5-A50A-33AFAB8ED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463" y="500063"/>
              <a:ext cx="182563" cy="244475"/>
            </a:xfrm>
            <a:custGeom>
              <a:avLst/>
              <a:gdLst>
                <a:gd name="T0" fmla="*/ 53 w 115"/>
                <a:gd name="T1" fmla="*/ 75 h 154"/>
                <a:gd name="T2" fmla="*/ 115 w 115"/>
                <a:gd name="T3" fmla="*/ 0 h 154"/>
                <a:gd name="T4" fmla="*/ 86 w 115"/>
                <a:gd name="T5" fmla="*/ 0 h 154"/>
                <a:gd name="T6" fmla="*/ 34 w 115"/>
                <a:gd name="T7" fmla="*/ 64 h 154"/>
                <a:gd name="T8" fmla="*/ 34 w 115"/>
                <a:gd name="T9" fmla="*/ 64 h 154"/>
                <a:gd name="T10" fmla="*/ 33 w 115"/>
                <a:gd name="T11" fmla="*/ 64 h 154"/>
                <a:gd name="T12" fmla="*/ 24 w 115"/>
                <a:gd name="T13" fmla="*/ 64 h 154"/>
                <a:gd name="T14" fmla="*/ 24 w 115"/>
                <a:gd name="T15" fmla="*/ 51 h 154"/>
                <a:gd name="T16" fmla="*/ 24 w 115"/>
                <a:gd name="T17" fmla="*/ 19 h 154"/>
                <a:gd name="T18" fmla="*/ 24 w 115"/>
                <a:gd name="T19" fmla="*/ 0 h 154"/>
                <a:gd name="T20" fmla="*/ 23 w 115"/>
                <a:gd name="T21" fmla="*/ 0 h 154"/>
                <a:gd name="T22" fmla="*/ 0 w 115"/>
                <a:gd name="T23" fmla="*/ 0 h 154"/>
                <a:gd name="T24" fmla="*/ 0 w 115"/>
                <a:gd name="T25" fmla="*/ 19 h 154"/>
                <a:gd name="T26" fmla="*/ 0 w 115"/>
                <a:gd name="T27" fmla="*/ 51 h 154"/>
                <a:gd name="T28" fmla="*/ 0 w 115"/>
                <a:gd name="T29" fmla="*/ 64 h 154"/>
                <a:gd name="T30" fmla="*/ 0 w 115"/>
                <a:gd name="T31" fmla="*/ 86 h 154"/>
                <a:gd name="T32" fmla="*/ 0 w 115"/>
                <a:gd name="T33" fmla="*/ 109 h 154"/>
                <a:gd name="T34" fmla="*/ 24 w 115"/>
                <a:gd name="T35" fmla="*/ 109 h 154"/>
                <a:gd name="T36" fmla="*/ 24 w 115"/>
                <a:gd name="T37" fmla="*/ 86 h 154"/>
                <a:gd name="T38" fmla="*/ 34 w 115"/>
                <a:gd name="T39" fmla="*/ 86 h 154"/>
                <a:gd name="T40" fmla="*/ 44 w 115"/>
                <a:gd name="T41" fmla="*/ 98 h 154"/>
                <a:gd name="T42" fmla="*/ 88 w 115"/>
                <a:gd name="T43" fmla="*/ 154 h 154"/>
                <a:gd name="T44" fmla="*/ 115 w 115"/>
                <a:gd name="T45" fmla="*/ 154 h 154"/>
                <a:gd name="T46" fmla="*/ 53 w 115"/>
                <a:gd name="T47" fmla="*/ 7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5" h="154">
                  <a:moveTo>
                    <a:pt x="53" y="75"/>
                  </a:moveTo>
                  <a:lnTo>
                    <a:pt x="115" y="0"/>
                  </a:lnTo>
                  <a:lnTo>
                    <a:pt x="86" y="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3" y="64"/>
                  </a:lnTo>
                  <a:lnTo>
                    <a:pt x="24" y="64"/>
                  </a:lnTo>
                  <a:lnTo>
                    <a:pt x="24" y="51"/>
                  </a:lnTo>
                  <a:lnTo>
                    <a:pt x="24" y="19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51"/>
                  </a:lnTo>
                  <a:lnTo>
                    <a:pt x="0" y="64"/>
                  </a:lnTo>
                  <a:lnTo>
                    <a:pt x="0" y="86"/>
                  </a:lnTo>
                  <a:lnTo>
                    <a:pt x="0" y="109"/>
                  </a:lnTo>
                  <a:lnTo>
                    <a:pt x="24" y="109"/>
                  </a:lnTo>
                  <a:lnTo>
                    <a:pt x="24" y="86"/>
                  </a:lnTo>
                  <a:lnTo>
                    <a:pt x="34" y="86"/>
                  </a:lnTo>
                  <a:lnTo>
                    <a:pt x="44" y="98"/>
                  </a:lnTo>
                  <a:lnTo>
                    <a:pt x="88" y="154"/>
                  </a:lnTo>
                  <a:lnTo>
                    <a:pt x="115" y="154"/>
                  </a:lnTo>
                  <a:lnTo>
                    <a:pt x="53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rgbClr val="000000"/>
                </a:solidFill>
              </a:endParaRPr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0ABD8C8-DA77-4033-9AF1-7EBB5B37E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613" y="496888"/>
              <a:ext cx="44450" cy="42863"/>
            </a:xfrm>
            <a:custGeom>
              <a:avLst/>
              <a:gdLst>
                <a:gd name="T0" fmla="*/ 73 w 119"/>
                <a:gd name="T1" fmla="*/ 4 h 114"/>
                <a:gd name="T2" fmla="*/ 30 w 119"/>
                <a:gd name="T3" fmla="*/ 9 h 114"/>
                <a:gd name="T4" fmla="*/ 4 w 119"/>
                <a:gd name="T5" fmla="*/ 43 h 114"/>
                <a:gd name="T6" fmla="*/ 9 w 119"/>
                <a:gd name="T7" fmla="*/ 85 h 114"/>
                <a:gd name="T8" fmla="*/ 43 w 119"/>
                <a:gd name="T9" fmla="*/ 112 h 114"/>
                <a:gd name="T10" fmla="*/ 57 w 119"/>
                <a:gd name="T11" fmla="*/ 114 h 114"/>
                <a:gd name="T12" fmla="*/ 111 w 119"/>
                <a:gd name="T13" fmla="*/ 73 h 114"/>
                <a:gd name="T14" fmla="*/ 73 w 119"/>
                <a:gd name="T15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114">
                  <a:moveTo>
                    <a:pt x="73" y="4"/>
                  </a:moveTo>
                  <a:cubicBezTo>
                    <a:pt x="59" y="0"/>
                    <a:pt x="44" y="2"/>
                    <a:pt x="30" y="9"/>
                  </a:cubicBezTo>
                  <a:cubicBezTo>
                    <a:pt x="17" y="17"/>
                    <a:pt x="8" y="29"/>
                    <a:pt x="4" y="43"/>
                  </a:cubicBezTo>
                  <a:cubicBezTo>
                    <a:pt x="0" y="57"/>
                    <a:pt x="1" y="72"/>
                    <a:pt x="9" y="85"/>
                  </a:cubicBezTo>
                  <a:cubicBezTo>
                    <a:pt x="16" y="98"/>
                    <a:pt x="28" y="107"/>
                    <a:pt x="43" y="112"/>
                  </a:cubicBezTo>
                  <a:cubicBezTo>
                    <a:pt x="48" y="113"/>
                    <a:pt x="52" y="114"/>
                    <a:pt x="57" y="114"/>
                  </a:cubicBezTo>
                  <a:cubicBezTo>
                    <a:pt x="81" y="114"/>
                    <a:pt x="104" y="97"/>
                    <a:pt x="111" y="73"/>
                  </a:cubicBezTo>
                  <a:cubicBezTo>
                    <a:pt x="119" y="44"/>
                    <a:pt x="102" y="12"/>
                    <a:pt x="73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rgbClr val="000000"/>
                </a:solidFill>
              </a:endParaRPr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87159288-A5ED-4305-8773-CBBE6AB13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88" y="703263"/>
              <a:ext cx="42863" cy="42863"/>
            </a:xfrm>
            <a:custGeom>
              <a:avLst/>
              <a:gdLst>
                <a:gd name="T0" fmla="*/ 74 w 115"/>
                <a:gd name="T1" fmla="*/ 4 h 114"/>
                <a:gd name="T2" fmla="*/ 31 w 115"/>
                <a:gd name="T3" fmla="*/ 9 h 114"/>
                <a:gd name="T4" fmla="*/ 4 w 115"/>
                <a:gd name="T5" fmla="*/ 43 h 114"/>
                <a:gd name="T6" fmla="*/ 9 w 115"/>
                <a:gd name="T7" fmla="*/ 85 h 114"/>
                <a:gd name="T8" fmla="*/ 43 w 115"/>
                <a:gd name="T9" fmla="*/ 112 h 114"/>
                <a:gd name="T10" fmla="*/ 58 w 115"/>
                <a:gd name="T11" fmla="*/ 114 h 114"/>
                <a:gd name="T12" fmla="*/ 111 w 115"/>
                <a:gd name="T13" fmla="*/ 74 h 114"/>
                <a:gd name="T14" fmla="*/ 106 w 115"/>
                <a:gd name="T15" fmla="*/ 31 h 114"/>
                <a:gd name="T16" fmla="*/ 74 w 115"/>
                <a:gd name="T17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14">
                  <a:moveTo>
                    <a:pt x="74" y="4"/>
                  </a:moveTo>
                  <a:cubicBezTo>
                    <a:pt x="59" y="0"/>
                    <a:pt x="44" y="2"/>
                    <a:pt x="31" y="9"/>
                  </a:cubicBezTo>
                  <a:cubicBezTo>
                    <a:pt x="18" y="17"/>
                    <a:pt x="8" y="29"/>
                    <a:pt x="4" y="43"/>
                  </a:cubicBezTo>
                  <a:cubicBezTo>
                    <a:pt x="0" y="57"/>
                    <a:pt x="2" y="72"/>
                    <a:pt x="9" y="85"/>
                  </a:cubicBezTo>
                  <a:cubicBezTo>
                    <a:pt x="17" y="98"/>
                    <a:pt x="29" y="108"/>
                    <a:pt x="43" y="112"/>
                  </a:cubicBezTo>
                  <a:cubicBezTo>
                    <a:pt x="48" y="113"/>
                    <a:pt x="53" y="114"/>
                    <a:pt x="58" y="114"/>
                  </a:cubicBezTo>
                  <a:cubicBezTo>
                    <a:pt x="82" y="114"/>
                    <a:pt x="105" y="98"/>
                    <a:pt x="111" y="74"/>
                  </a:cubicBezTo>
                  <a:cubicBezTo>
                    <a:pt x="115" y="59"/>
                    <a:pt x="114" y="44"/>
                    <a:pt x="106" y="31"/>
                  </a:cubicBezTo>
                  <a:cubicBezTo>
                    <a:pt x="99" y="18"/>
                    <a:pt x="88" y="8"/>
                    <a:pt x="74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3290088"/>
      </p:ext>
    </p:extLst>
  </p:cSld>
  <p:clrMapOvr>
    <a:masterClrMapping/>
  </p:clrMapOvr>
  <p:hf hd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_whit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331D50D-30CF-4EDE-AAD6-F27CA1FDE9C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B98D741-86A0-4952-A3ED-78E843F23CF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8A9C1A8-0BFC-4236-A720-3456710C7F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7307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Subtit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_whit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_white"/>
          <p:cNvSpPr>
            <a:spLocks noGrp="1"/>
          </p:cNvSpPr>
          <p:nvPr>
            <p:ph type="body" sz="quarter" idx="13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rgbClr val="FFFFFF"/>
                </a:solidFill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32AF60-FE79-46A0-BC71-D44F0EA48E3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29E755B-56DD-462B-ABE5-CF5CC16BEF0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8BE4BA5-BC2D-41C2-86C7-5365F2F9A5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255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6286500" y="550882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6499" y="3517414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6582054" y="1579582"/>
            <a:ext cx="4577005" cy="1077218"/>
          </a:xfrm>
          <a:solidFill>
            <a:srgbClr val="333536">
              <a:alpha val="0"/>
            </a:srgbClr>
          </a:solidFill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4012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background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537459" y="515463"/>
            <a:ext cx="11117083" cy="800219"/>
          </a:xfrm>
        </p:spPr>
        <p:txBody>
          <a:bodyPr/>
          <a:lstStyle>
            <a:lvl1pPr>
              <a:defRPr sz="46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C7AD3A-599B-4013-9C13-39954DC1600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C8C8EB2-9FA7-41E0-9ED8-5393479C4C2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BEF155E-4AF5-46F2-9B1D-1AA8A27811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8182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bottom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_big_bottom"/>
          <p:cNvSpPr>
            <a:spLocks noGrp="1"/>
          </p:cNvSpPr>
          <p:nvPr>
            <p:ph type="title"/>
          </p:nvPr>
        </p:nvSpPr>
        <p:spPr>
          <a:xfrm>
            <a:off x="537459" y="4376268"/>
            <a:ext cx="11117083" cy="800219"/>
          </a:xfrm>
        </p:spPr>
        <p:txBody>
          <a:bodyPr/>
          <a:lstStyle>
            <a:lvl1pPr>
              <a:defRPr sz="46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0820E8D-C14D-4C0B-BD6B-8F88D7BAADE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73071B2-6229-48DF-A98B-9657017A3ACF}" type="datetime1">
              <a:rPr lang="en-US" smtClean="0"/>
              <a:t>10/17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74A7328-CA38-4B1B-B573-1B0774D3AC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DFC39A8-2928-4641-814D-B19F9B6E95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051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enter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2242485"/>
            <a:ext cx="11117083" cy="800219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600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F97BB7-0400-4F5F-B75B-E08643B21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FEF71E9-F7CE-4E64-AEEB-C5CAA1C4C9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06FA90-FF74-470B-B12B-CCFE0A47C26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924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middle with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2995025"/>
            <a:ext cx="11117083" cy="800219"/>
          </a:xfrm>
        </p:spPr>
        <p:txBody>
          <a:bodyPr anchor="ctr" anchorCtr="0"/>
          <a:lstStyle>
            <a:lvl1pPr algn="ctr">
              <a:lnSpc>
                <a:spcPct val="100000"/>
              </a:lnSpc>
              <a:defRPr sz="4600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FF18A5-09F4-47C1-A4BD-EC66B9E1685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EBA99D-F27E-46D4-86A6-1803583B424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8AA439-BB0B-4BC6-A160-9D3AE0EBCD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2239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enter with background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1188801"/>
            <a:ext cx="11117083" cy="800219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600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87D3ED-8D67-4329-961D-BAFB628883A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8796849-6AD9-46A1-9917-550D61FDBEE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89D0C9D-FFF7-4329-BDB4-01B62B2341A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7902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enter with background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1843562"/>
            <a:ext cx="11117083" cy="800219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600" b="0" spc="0" baseline="0">
                <a:solidFill>
                  <a:srgbClr val="FFFFFF"/>
                </a:solidFill>
                <a:latin typeface="+mj-lt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E65079B-A7F3-4458-8D93-E8D810E9878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317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tle_big_white"/>
          <p:cNvSpPr>
            <a:spLocks noGrp="1"/>
          </p:cNvSpPr>
          <p:nvPr>
            <p:ph type="title"/>
          </p:nvPr>
        </p:nvSpPr>
        <p:spPr>
          <a:xfrm>
            <a:off x="537459" y="3001960"/>
            <a:ext cx="11117083" cy="1892826"/>
          </a:xfrm>
        </p:spPr>
        <p:txBody>
          <a:bodyPr anchor="t" anchorCtr="0"/>
          <a:lstStyle>
            <a:lvl1pPr algn="ctr">
              <a:lnSpc>
                <a:spcPct val="90000"/>
              </a:lnSpc>
              <a:defRPr sz="6500" b="0" spc="0" baseline="0">
                <a:solidFill>
                  <a:srgbClr val="FFFFFF"/>
                </a:solidFill>
                <a:latin typeface="Work Sans Medium" panose="020B0706030804020204" pitchFamily="34" charset="0"/>
                <a:ea typeface="Work Sans Medium" panose="020B0706030804020204" pitchFamily="34" charset="0"/>
                <a:cs typeface="Work Sans Medium" panose="020B07060308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3201FB-FE53-4F0B-8FDF-C2DEEA8F96B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420328C-B50E-4E5B-A023-F1DFCF9F6B1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36400" y="6323715"/>
            <a:ext cx="5559600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CCC5429-3FEC-4B5F-A188-C895E743664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86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half backgrou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5" y="0"/>
            <a:ext cx="584077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04751" y="2817265"/>
            <a:ext cx="5245824" cy="10772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3D586E-F233-48FE-A780-BB4D0BED11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6897" y="4383089"/>
            <a:ext cx="5243679" cy="367816"/>
          </a:xfrm>
        </p:spPr>
        <p:txBody>
          <a:bodyPr/>
          <a:lstStyle>
            <a:lvl1pPr marL="0" indent="0">
              <a:buNone/>
              <a:defRPr/>
            </a:lvl1pPr>
            <a:lvl2pPr marL="266689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BDFC6F-3286-4A3D-A782-EF139340A1F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751" y="464695"/>
            <a:ext cx="1727322" cy="49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238332"/>
      </p:ext>
    </p:extLst>
  </p:cSld>
  <p:clrMapOvr>
    <a:masterClrMapping/>
  </p:clrMapOvr>
  <p:hf hdr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Subtitle &amp; half backgrou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37461" y="426425"/>
            <a:ext cx="5245824" cy="10772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51225" y="0"/>
            <a:ext cx="584077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4" hasCustomPrompt="1"/>
          </p:nvPr>
        </p:nvSpPr>
        <p:spPr>
          <a:xfrm>
            <a:off x="536401" y="1023732"/>
            <a:ext cx="5258610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977673346"/>
      </p:ext>
    </p:extLst>
  </p:cSld>
  <p:clrMapOvr>
    <a:masterClrMapping/>
  </p:clrMapOvr>
  <p:hf hdr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half backgroun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84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896ED2-8998-45EC-B37F-E645AEBA4D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50000" y="2454275"/>
            <a:ext cx="5238750" cy="2236788"/>
          </a:xfrm>
        </p:spPr>
        <p:txBody>
          <a:bodyPr>
            <a:no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66689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4363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1545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8727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IN" sz="3200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6428472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Ope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0A59897F-F414-49C6-A032-D9B2F8A7FB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Table Placeholder 19">
            <a:extLst>
              <a:ext uri="{FF2B5EF4-FFF2-40B4-BE49-F238E27FC236}">
                <a16:creationId xmlns:a16="http://schemas.microsoft.com/office/drawing/2014/main" id="{DE47ABF5-E890-49AD-AC79-CB2EF6AAF111}"/>
              </a:ext>
            </a:extLst>
          </p:cNvPr>
          <p:cNvSpPr>
            <a:spLocks noGrp="1"/>
          </p:cNvSpPr>
          <p:nvPr>
            <p:ph type="tbl" sz="quarter" idx="25"/>
          </p:nvPr>
        </p:nvSpPr>
        <p:spPr>
          <a:xfrm>
            <a:off x="537458" y="2669242"/>
            <a:ext cx="5368042" cy="2931459"/>
          </a:xfrm>
          <a:solidFill>
            <a:schemeClr val="tx1">
              <a:alpha val="86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156780-F5F3-4753-93A5-D6CFAECEA98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37458" y="6323715"/>
            <a:ext cx="5558542" cy="245776"/>
          </a:xfrm>
        </p:spPr>
        <p:txBody>
          <a:bodyPr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74761-0146-4E08-A9F3-F691FF15C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6D766E-B641-420F-ADC0-C99054ADED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7457" y="5635774"/>
            <a:ext cx="5368042" cy="521710"/>
          </a:xfrm>
          <a:solidFill>
            <a:schemeClr val="tx2">
              <a:alpha val="86000"/>
            </a:schemeClr>
          </a:solidFill>
        </p:spPr>
        <p:txBody>
          <a:bodyPr lIns="288000" rIns="0" anchor="ctr" anchorCtr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N"/>
          </a:p>
        </p:txBody>
      </p:sp>
      <p:sp>
        <p:nvSpPr>
          <p:cNvPr id="2" name="Title_big_white"/>
          <p:cNvSpPr>
            <a:spLocks noGrp="1"/>
          </p:cNvSpPr>
          <p:nvPr>
            <p:ph type="title"/>
          </p:nvPr>
        </p:nvSpPr>
        <p:spPr>
          <a:xfrm>
            <a:off x="833013" y="3697942"/>
            <a:ext cx="4577005" cy="1077218"/>
          </a:xfrm>
          <a:solidFill>
            <a:srgbClr val="333536">
              <a:alpha val="0"/>
            </a:srgbClr>
          </a:solidFill>
        </p:spPr>
        <p:txBody>
          <a:bodyPr lIns="0" rIns="0"/>
          <a:lstStyle>
            <a:lvl1pPr>
              <a:defRPr sz="3200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19414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&amp; half backgroun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991678"/>
            <a:ext cx="12192000" cy="38663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988EB7-C821-4EEA-B8AF-13B106E73F0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7419" y="436120"/>
            <a:ext cx="1727322" cy="497469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896ED2-8998-45EC-B37F-E645AEBA4D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7260" y="341736"/>
            <a:ext cx="8638209" cy="1223460"/>
          </a:xfrm>
        </p:spPr>
        <p:txBody>
          <a:bodyPr>
            <a:no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266689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4363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1545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8727" indent="0" algn="l" defTabSz="9143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IN" sz="3200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3061889"/>
      </p:ext>
    </p:extLst>
  </p:cSld>
  <p:clrMapOvr>
    <a:masterClrMapping/>
  </p:clrMapOvr>
  <p:hf hdr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Subtitle &amp; half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51223" y="0"/>
            <a:ext cx="5840777" cy="6858000"/>
          </a:xfrm>
          <a:prstGeom prst="rect">
            <a:avLst/>
          </a:prstGeom>
          <a:solidFill>
            <a:schemeClr val="bg2"/>
          </a:solidFill>
          <a:ln w="0">
            <a:solidFill>
              <a:schemeClr val="bg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_half_left"/>
          <p:cNvSpPr>
            <a:spLocks noGrp="1"/>
          </p:cNvSpPr>
          <p:nvPr>
            <p:ph type="title"/>
          </p:nvPr>
        </p:nvSpPr>
        <p:spPr>
          <a:xfrm>
            <a:off x="537461" y="505937"/>
            <a:ext cx="5245824" cy="600164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8" name="Subtitle_half_left"/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5258610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61F96C5-3350-41E7-9935-541D8E55CBF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854409"/>
      </p:ext>
    </p:extLst>
  </p:cSld>
  <p:clrMapOvr>
    <a:masterClrMapping/>
  </p:clrMapOvr>
  <p:hf hdr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F03B81E-CC90-411E-907D-CE60ACBAE6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51223" y="0"/>
            <a:ext cx="5840777" cy="6858000"/>
          </a:xfrm>
          <a:prstGeom prst="rect">
            <a:avLst/>
          </a:prstGeom>
          <a:solidFill>
            <a:schemeClr val="bg2"/>
          </a:solidFill>
          <a:ln w="0">
            <a:solidFill>
              <a:schemeClr val="bg2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_half_left">
            <a:extLst>
              <a:ext uri="{FF2B5EF4-FFF2-40B4-BE49-F238E27FC236}">
                <a16:creationId xmlns:a16="http://schemas.microsoft.com/office/drawing/2014/main" id="{5BF4DA2A-5A7C-4029-B48B-32F5FE348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461" y="505937"/>
            <a:ext cx="5245824" cy="600164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D3E6B4F-D21C-426D-B8FD-240BB68CAC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89654" y="6327574"/>
            <a:ext cx="464888" cy="238059"/>
          </a:xfrm>
        </p:spPr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5B33EF04-15F4-4247-858A-D0710FB043A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819400" y="6323715"/>
            <a:ext cx="7193282" cy="245776"/>
          </a:xfrm>
        </p:spPr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4" name="Subtitle_half_left">
            <a:extLst>
              <a:ext uri="{FF2B5EF4-FFF2-40B4-BE49-F238E27FC236}">
                <a16:creationId xmlns:a16="http://schemas.microsoft.com/office/drawing/2014/main" id="{3A41A42D-CD31-48F6-B386-50253686E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6401" y="925201"/>
            <a:ext cx="5258610" cy="4929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5" name="Date Placeholder 5">
            <a:extLst>
              <a:ext uri="{FF2B5EF4-FFF2-40B4-BE49-F238E27FC236}">
                <a16:creationId xmlns:a16="http://schemas.microsoft.com/office/drawing/2014/main" id="{B62C4CC1-23D3-424A-9A46-85D9CC8FCD4B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 flipH="1">
            <a:off x="10217150" y="6327578"/>
            <a:ext cx="866140" cy="238051"/>
          </a:xfrm>
        </p:spPr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707798"/>
      </p:ext>
    </p:extLst>
  </p:cSld>
  <p:clrMapOvr>
    <a:masterClrMapping/>
  </p:clrMapOvr>
  <p:hf hdr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Work Sans" panose="00000500000000000000" pitchFamily="2" charset="0"/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863600" y="1673955"/>
            <a:ext cx="4978400" cy="43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572956" y="1673955"/>
            <a:ext cx="4978400" cy="43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4DD618-DA0C-4B98-A734-B2100C4DE3F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831915"/>
      </p:ext>
    </p:extLst>
  </p:cSld>
  <p:clrMapOvr>
    <a:masterClrMapping/>
  </p:clrMapOvr>
  <p:hf hdr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eb p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397000" y="1485900"/>
            <a:ext cx="6299200" cy="382905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587499" y="1803389"/>
            <a:ext cx="5922963" cy="3335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651354" y="1585913"/>
            <a:ext cx="3038476" cy="1838325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743600" y="1738313"/>
            <a:ext cx="2858400" cy="15954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651354" y="3381377"/>
            <a:ext cx="3038476" cy="1838325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7743600" y="3533777"/>
            <a:ext cx="2858400" cy="15954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5B1FEBC-DBE4-46E4-85A5-7821E881193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625406"/>
      </p:ext>
    </p:extLst>
  </p:cSld>
  <p:clrMapOvr>
    <a:masterClrMapping/>
  </p:clrMapOvr>
  <p:hf hdr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456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3708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8212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1678733"/>
            <a:ext cx="2725200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889A59-B598-4605-94C7-790118509E9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218841"/>
      </p:ext>
    </p:extLst>
  </p:cSld>
  <p:clrMapOvr>
    <a:masterClrMapping/>
  </p:clrMapOvr>
  <p:hf hdr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859631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15543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571455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9427368" y="1683497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859631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3715543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8"/>
          </p:nvPr>
        </p:nvSpPr>
        <p:spPr>
          <a:xfrm>
            <a:off x="6571455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9427368" y="4060424"/>
            <a:ext cx="2128838" cy="1307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21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2649D5E-F6D0-4AA0-9127-CE8B8D68317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948670"/>
      </p:ext>
    </p:extLst>
  </p:cSld>
  <p:clrMapOvr>
    <a:masterClrMapping/>
  </p:clrMapOvr>
  <p:hf hdr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614988" y="1671637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2762727" y="2785586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477726" y="2785586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92575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0159662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075194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442281" y="4393962"/>
            <a:ext cx="952500" cy="952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9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36DA9F-7CE5-43B5-8F53-462D33E0516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977101"/>
      </p:ext>
    </p:extLst>
  </p:cSld>
  <p:clrMapOvr>
    <a:masterClrMapping/>
  </p:clrMapOvr>
  <p:hf hdr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45600" y="1678732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4454268" y="1678732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0"/>
          </p:nvPr>
        </p:nvSpPr>
        <p:spPr>
          <a:xfrm>
            <a:off x="8262936" y="1678732"/>
            <a:ext cx="3283462" cy="24995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Subtitle"/>
          <p:cNvSpPr>
            <a:spLocks noGrp="1"/>
          </p:cNvSpPr>
          <p:nvPr>
            <p:ph type="body" sz="quarter" idx="21" hasCustomPrompt="1"/>
          </p:nvPr>
        </p:nvSpPr>
        <p:spPr>
          <a:xfrm>
            <a:off x="536401" y="925201"/>
            <a:ext cx="11001375" cy="492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latin typeface="Work Sans Light" panose="00000400000000000000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FAFC74-5FD3-4865-8C40-97BD719CA799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863137"/>
      </p:ext>
    </p:extLst>
  </p:cSld>
  <p:clrMapOvr>
    <a:masterClrMapping/>
  </p:clrMapOvr>
  <p:hf hdr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601913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8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and Confidential © KPIT Technologies Limite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6EF514-C482-4232-A3C4-2A64B27FDA7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CF92D30-081F-443D-BBAF-51580795C238}" type="datetime1">
              <a:rPr lang="en-US" smtClean="0"/>
              <a:t>10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176537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10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45.xml"/><Relationship Id="rId21" Type="http://schemas.openxmlformats.org/officeDocument/2006/relationships/slideLayout" Target="../slideLayouts/slideLayout340.xml"/><Relationship Id="rId34" Type="http://schemas.openxmlformats.org/officeDocument/2006/relationships/slideLayout" Target="../slideLayouts/slideLayout353.xml"/><Relationship Id="rId42" Type="http://schemas.openxmlformats.org/officeDocument/2006/relationships/slideLayout" Target="../slideLayouts/slideLayout361.xml"/><Relationship Id="rId47" Type="http://schemas.openxmlformats.org/officeDocument/2006/relationships/slideLayout" Target="../slideLayouts/slideLayout366.xml"/><Relationship Id="rId50" Type="http://schemas.openxmlformats.org/officeDocument/2006/relationships/slideLayout" Target="../slideLayouts/slideLayout369.xml"/><Relationship Id="rId55" Type="http://schemas.openxmlformats.org/officeDocument/2006/relationships/slideLayout" Target="../slideLayouts/slideLayout374.xml"/><Relationship Id="rId63" Type="http://schemas.openxmlformats.org/officeDocument/2006/relationships/slideLayout" Target="../slideLayouts/slideLayout382.xml"/><Relationship Id="rId7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21.xml"/><Relationship Id="rId16" Type="http://schemas.openxmlformats.org/officeDocument/2006/relationships/slideLayout" Target="../slideLayouts/slideLayout335.xml"/><Relationship Id="rId29" Type="http://schemas.openxmlformats.org/officeDocument/2006/relationships/slideLayout" Target="../slideLayouts/slideLayout348.xml"/><Relationship Id="rId11" Type="http://schemas.openxmlformats.org/officeDocument/2006/relationships/slideLayout" Target="../slideLayouts/slideLayout330.xml"/><Relationship Id="rId24" Type="http://schemas.openxmlformats.org/officeDocument/2006/relationships/slideLayout" Target="../slideLayouts/slideLayout343.xml"/><Relationship Id="rId32" Type="http://schemas.openxmlformats.org/officeDocument/2006/relationships/slideLayout" Target="../slideLayouts/slideLayout351.xml"/><Relationship Id="rId37" Type="http://schemas.openxmlformats.org/officeDocument/2006/relationships/slideLayout" Target="../slideLayouts/slideLayout356.xml"/><Relationship Id="rId40" Type="http://schemas.openxmlformats.org/officeDocument/2006/relationships/slideLayout" Target="../slideLayouts/slideLayout359.xml"/><Relationship Id="rId45" Type="http://schemas.openxmlformats.org/officeDocument/2006/relationships/slideLayout" Target="../slideLayouts/slideLayout364.xml"/><Relationship Id="rId53" Type="http://schemas.openxmlformats.org/officeDocument/2006/relationships/slideLayout" Target="../slideLayouts/slideLayout372.xml"/><Relationship Id="rId58" Type="http://schemas.openxmlformats.org/officeDocument/2006/relationships/slideLayout" Target="../slideLayouts/slideLayout377.xml"/><Relationship Id="rId5" Type="http://schemas.openxmlformats.org/officeDocument/2006/relationships/slideLayout" Target="../slideLayouts/slideLayout324.xml"/><Relationship Id="rId61" Type="http://schemas.openxmlformats.org/officeDocument/2006/relationships/slideLayout" Target="../slideLayouts/slideLayout380.xml"/><Relationship Id="rId19" Type="http://schemas.openxmlformats.org/officeDocument/2006/relationships/slideLayout" Target="../slideLayouts/slideLayout338.xml"/><Relationship Id="rId14" Type="http://schemas.openxmlformats.org/officeDocument/2006/relationships/slideLayout" Target="../slideLayouts/slideLayout333.xml"/><Relationship Id="rId22" Type="http://schemas.openxmlformats.org/officeDocument/2006/relationships/slideLayout" Target="../slideLayouts/slideLayout341.xml"/><Relationship Id="rId27" Type="http://schemas.openxmlformats.org/officeDocument/2006/relationships/slideLayout" Target="../slideLayouts/slideLayout346.xml"/><Relationship Id="rId30" Type="http://schemas.openxmlformats.org/officeDocument/2006/relationships/slideLayout" Target="../slideLayouts/slideLayout349.xml"/><Relationship Id="rId35" Type="http://schemas.openxmlformats.org/officeDocument/2006/relationships/slideLayout" Target="../slideLayouts/slideLayout354.xml"/><Relationship Id="rId43" Type="http://schemas.openxmlformats.org/officeDocument/2006/relationships/slideLayout" Target="../slideLayouts/slideLayout362.xml"/><Relationship Id="rId48" Type="http://schemas.openxmlformats.org/officeDocument/2006/relationships/slideLayout" Target="../slideLayouts/slideLayout367.xml"/><Relationship Id="rId56" Type="http://schemas.openxmlformats.org/officeDocument/2006/relationships/slideLayout" Target="../slideLayouts/slideLayout375.xml"/><Relationship Id="rId64" Type="http://schemas.openxmlformats.org/officeDocument/2006/relationships/theme" Target="../theme/theme10.xml"/><Relationship Id="rId8" Type="http://schemas.openxmlformats.org/officeDocument/2006/relationships/slideLayout" Target="../slideLayouts/slideLayout327.xml"/><Relationship Id="rId51" Type="http://schemas.openxmlformats.org/officeDocument/2006/relationships/slideLayout" Target="../slideLayouts/slideLayout370.xml"/><Relationship Id="rId3" Type="http://schemas.openxmlformats.org/officeDocument/2006/relationships/slideLayout" Target="../slideLayouts/slideLayout322.xml"/><Relationship Id="rId12" Type="http://schemas.openxmlformats.org/officeDocument/2006/relationships/slideLayout" Target="../slideLayouts/slideLayout331.xml"/><Relationship Id="rId17" Type="http://schemas.openxmlformats.org/officeDocument/2006/relationships/slideLayout" Target="../slideLayouts/slideLayout336.xml"/><Relationship Id="rId25" Type="http://schemas.openxmlformats.org/officeDocument/2006/relationships/slideLayout" Target="../slideLayouts/slideLayout344.xml"/><Relationship Id="rId33" Type="http://schemas.openxmlformats.org/officeDocument/2006/relationships/slideLayout" Target="../slideLayouts/slideLayout352.xml"/><Relationship Id="rId38" Type="http://schemas.openxmlformats.org/officeDocument/2006/relationships/slideLayout" Target="../slideLayouts/slideLayout357.xml"/><Relationship Id="rId46" Type="http://schemas.openxmlformats.org/officeDocument/2006/relationships/slideLayout" Target="../slideLayouts/slideLayout365.xml"/><Relationship Id="rId59" Type="http://schemas.openxmlformats.org/officeDocument/2006/relationships/slideLayout" Target="../slideLayouts/slideLayout378.xml"/><Relationship Id="rId20" Type="http://schemas.openxmlformats.org/officeDocument/2006/relationships/slideLayout" Target="../slideLayouts/slideLayout339.xml"/><Relationship Id="rId41" Type="http://schemas.openxmlformats.org/officeDocument/2006/relationships/slideLayout" Target="../slideLayouts/slideLayout360.xml"/><Relationship Id="rId54" Type="http://schemas.openxmlformats.org/officeDocument/2006/relationships/slideLayout" Target="../slideLayouts/slideLayout373.xml"/><Relationship Id="rId62" Type="http://schemas.openxmlformats.org/officeDocument/2006/relationships/slideLayout" Target="../slideLayouts/slideLayout381.xml"/><Relationship Id="rId1" Type="http://schemas.openxmlformats.org/officeDocument/2006/relationships/slideLayout" Target="../slideLayouts/slideLayout320.xml"/><Relationship Id="rId6" Type="http://schemas.openxmlformats.org/officeDocument/2006/relationships/slideLayout" Target="../slideLayouts/slideLayout325.xml"/><Relationship Id="rId15" Type="http://schemas.openxmlformats.org/officeDocument/2006/relationships/slideLayout" Target="../slideLayouts/slideLayout334.xml"/><Relationship Id="rId23" Type="http://schemas.openxmlformats.org/officeDocument/2006/relationships/slideLayout" Target="../slideLayouts/slideLayout342.xml"/><Relationship Id="rId28" Type="http://schemas.openxmlformats.org/officeDocument/2006/relationships/slideLayout" Target="../slideLayouts/slideLayout347.xml"/><Relationship Id="rId36" Type="http://schemas.openxmlformats.org/officeDocument/2006/relationships/slideLayout" Target="../slideLayouts/slideLayout355.xml"/><Relationship Id="rId49" Type="http://schemas.openxmlformats.org/officeDocument/2006/relationships/slideLayout" Target="../slideLayouts/slideLayout368.xml"/><Relationship Id="rId57" Type="http://schemas.openxmlformats.org/officeDocument/2006/relationships/slideLayout" Target="../slideLayouts/slideLayout376.xml"/><Relationship Id="rId10" Type="http://schemas.openxmlformats.org/officeDocument/2006/relationships/slideLayout" Target="../slideLayouts/slideLayout329.xml"/><Relationship Id="rId31" Type="http://schemas.openxmlformats.org/officeDocument/2006/relationships/slideLayout" Target="../slideLayouts/slideLayout350.xml"/><Relationship Id="rId44" Type="http://schemas.openxmlformats.org/officeDocument/2006/relationships/slideLayout" Target="../slideLayouts/slideLayout363.xml"/><Relationship Id="rId52" Type="http://schemas.openxmlformats.org/officeDocument/2006/relationships/slideLayout" Target="../slideLayouts/slideLayout371.xml"/><Relationship Id="rId60" Type="http://schemas.openxmlformats.org/officeDocument/2006/relationships/slideLayout" Target="../slideLayouts/slideLayout379.xml"/><Relationship Id="rId65" Type="http://schemas.openxmlformats.org/officeDocument/2006/relationships/image" Target="../media/image21.png"/><Relationship Id="rId4" Type="http://schemas.openxmlformats.org/officeDocument/2006/relationships/slideLayout" Target="../slideLayouts/slideLayout323.xml"/><Relationship Id="rId9" Type="http://schemas.openxmlformats.org/officeDocument/2006/relationships/slideLayout" Target="../slideLayouts/slideLayout328.xml"/><Relationship Id="rId13" Type="http://schemas.openxmlformats.org/officeDocument/2006/relationships/slideLayout" Target="../slideLayouts/slideLayout332.xml"/><Relationship Id="rId18" Type="http://schemas.openxmlformats.org/officeDocument/2006/relationships/slideLayout" Target="../slideLayouts/slideLayout337.xml"/><Relationship Id="rId39" Type="http://schemas.openxmlformats.org/officeDocument/2006/relationships/slideLayout" Target="../slideLayouts/slideLayout358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84.xml"/><Relationship Id="rId34" Type="http://schemas.openxmlformats.org/officeDocument/2006/relationships/slideLayout" Target="../slideLayouts/slideLayout97.xml"/><Relationship Id="rId42" Type="http://schemas.openxmlformats.org/officeDocument/2006/relationships/slideLayout" Target="../slideLayouts/slideLayout105.xml"/><Relationship Id="rId47" Type="http://schemas.openxmlformats.org/officeDocument/2006/relationships/slideLayout" Target="../slideLayouts/slideLayout110.xml"/><Relationship Id="rId50" Type="http://schemas.openxmlformats.org/officeDocument/2006/relationships/slideLayout" Target="../slideLayouts/slideLayout113.xml"/><Relationship Id="rId55" Type="http://schemas.openxmlformats.org/officeDocument/2006/relationships/slideLayout" Target="../slideLayouts/slideLayout118.xml"/><Relationship Id="rId6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37" Type="http://schemas.openxmlformats.org/officeDocument/2006/relationships/slideLayout" Target="../slideLayouts/slideLayout100.xml"/><Relationship Id="rId40" Type="http://schemas.openxmlformats.org/officeDocument/2006/relationships/slideLayout" Target="../slideLayouts/slideLayout103.xml"/><Relationship Id="rId45" Type="http://schemas.openxmlformats.org/officeDocument/2006/relationships/slideLayout" Target="../slideLayouts/slideLayout108.xml"/><Relationship Id="rId53" Type="http://schemas.openxmlformats.org/officeDocument/2006/relationships/slideLayout" Target="../slideLayouts/slideLayout116.xml"/><Relationship Id="rId58" Type="http://schemas.openxmlformats.org/officeDocument/2006/relationships/slideLayout" Target="../slideLayouts/slideLayout121.xml"/><Relationship Id="rId66" Type="http://schemas.openxmlformats.org/officeDocument/2006/relationships/image" Target="../media/image1.png"/><Relationship Id="rId5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slideLayout" Target="../slideLayouts/slideLayout98.xml"/><Relationship Id="rId43" Type="http://schemas.openxmlformats.org/officeDocument/2006/relationships/slideLayout" Target="../slideLayouts/slideLayout106.xml"/><Relationship Id="rId48" Type="http://schemas.openxmlformats.org/officeDocument/2006/relationships/slideLayout" Target="../slideLayouts/slideLayout111.xml"/><Relationship Id="rId56" Type="http://schemas.openxmlformats.org/officeDocument/2006/relationships/slideLayout" Target="../slideLayouts/slideLayout119.xml"/><Relationship Id="rId64" Type="http://schemas.openxmlformats.org/officeDocument/2006/relationships/slideLayout" Target="../slideLayouts/slideLayout127.xml"/><Relationship Id="rId8" Type="http://schemas.openxmlformats.org/officeDocument/2006/relationships/slideLayout" Target="../slideLayouts/slideLayout71.xml"/><Relationship Id="rId51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96.xml"/><Relationship Id="rId38" Type="http://schemas.openxmlformats.org/officeDocument/2006/relationships/slideLayout" Target="../slideLayouts/slideLayout101.xml"/><Relationship Id="rId46" Type="http://schemas.openxmlformats.org/officeDocument/2006/relationships/slideLayout" Target="../slideLayouts/slideLayout109.xml"/><Relationship Id="rId59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83.xml"/><Relationship Id="rId41" Type="http://schemas.openxmlformats.org/officeDocument/2006/relationships/slideLayout" Target="../slideLayouts/slideLayout104.xml"/><Relationship Id="rId54" Type="http://schemas.openxmlformats.org/officeDocument/2006/relationships/slideLayout" Target="../slideLayouts/slideLayout117.xml"/><Relationship Id="rId6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36" Type="http://schemas.openxmlformats.org/officeDocument/2006/relationships/slideLayout" Target="../slideLayouts/slideLayout99.xml"/><Relationship Id="rId49" Type="http://schemas.openxmlformats.org/officeDocument/2006/relationships/slideLayout" Target="../slideLayouts/slideLayout112.xml"/><Relationship Id="rId57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94.xml"/><Relationship Id="rId44" Type="http://schemas.openxmlformats.org/officeDocument/2006/relationships/slideLayout" Target="../slideLayouts/slideLayout107.xml"/><Relationship Id="rId52" Type="http://schemas.openxmlformats.org/officeDocument/2006/relationships/slideLayout" Target="../slideLayouts/slideLayout115.xml"/><Relationship Id="rId60" Type="http://schemas.openxmlformats.org/officeDocument/2006/relationships/slideLayout" Target="../slideLayouts/slideLayout123.xml"/><Relationship Id="rId65" Type="http://schemas.openxmlformats.org/officeDocument/2006/relationships/theme" Target="../theme/theme2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10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53.xml"/><Relationship Id="rId21" Type="http://schemas.openxmlformats.org/officeDocument/2006/relationships/slideLayout" Target="../slideLayouts/slideLayout148.xml"/><Relationship Id="rId42" Type="http://schemas.openxmlformats.org/officeDocument/2006/relationships/slideLayout" Target="../slideLayouts/slideLayout169.xml"/><Relationship Id="rId47" Type="http://schemas.openxmlformats.org/officeDocument/2006/relationships/slideLayout" Target="../slideLayouts/slideLayout174.xml"/><Relationship Id="rId63" Type="http://schemas.openxmlformats.org/officeDocument/2006/relationships/slideLayout" Target="../slideLayouts/slideLayout190.xml"/><Relationship Id="rId68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9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51.xml"/><Relationship Id="rId32" Type="http://schemas.openxmlformats.org/officeDocument/2006/relationships/slideLayout" Target="../slideLayouts/slideLayout159.xml"/><Relationship Id="rId37" Type="http://schemas.openxmlformats.org/officeDocument/2006/relationships/slideLayout" Target="../slideLayouts/slideLayout164.xml"/><Relationship Id="rId40" Type="http://schemas.openxmlformats.org/officeDocument/2006/relationships/slideLayout" Target="../slideLayouts/slideLayout167.xml"/><Relationship Id="rId45" Type="http://schemas.openxmlformats.org/officeDocument/2006/relationships/slideLayout" Target="../slideLayouts/slideLayout172.xml"/><Relationship Id="rId53" Type="http://schemas.openxmlformats.org/officeDocument/2006/relationships/slideLayout" Target="../slideLayouts/slideLayout180.xml"/><Relationship Id="rId58" Type="http://schemas.openxmlformats.org/officeDocument/2006/relationships/slideLayout" Target="../slideLayouts/slideLayout185.xml"/><Relationship Id="rId66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32.xml"/><Relationship Id="rId61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41.xml"/><Relationship Id="rId22" Type="http://schemas.openxmlformats.org/officeDocument/2006/relationships/slideLayout" Target="../slideLayouts/slideLayout149.xml"/><Relationship Id="rId27" Type="http://schemas.openxmlformats.org/officeDocument/2006/relationships/slideLayout" Target="../slideLayouts/slideLayout154.xml"/><Relationship Id="rId30" Type="http://schemas.openxmlformats.org/officeDocument/2006/relationships/slideLayout" Target="../slideLayouts/slideLayout157.xml"/><Relationship Id="rId35" Type="http://schemas.openxmlformats.org/officeDocument/2006/relationships/slideLayout" Target="../slideLayouts/slideLayout162.xml"/><Relationship Id="rId43" Type="http://schemas.openxmlformats.org/officeDocument/2006/relationships/slideLayout" Target="../slideLayouts/slideLayout170.xml"/><Relationship Id="rId48" Type="http://schemas.openxmlformats.org/officeDocument/2006/relationships/slideLayout" Target="../slideLayouts/slideLayout175.xml"/><Relationship Id="rId56" Type="http://schemas.openxmlformats.org/officeDocument/2006/relationships/slideLayout" Target="../slideLayouts/slideLayout183.xml"/><Relationship Id="rId64" Type="http://schemas.openxmlformats.org/officeDocument/2006/relationships/slideLayout" Target="../slideLayouts/slideLayout191.xml"/><Relationship Id="rId69" Type="http://schemas.openxmlformats.org/officeDocument/2006/relationships/theme" Target="../theme/theme3.xml"/><Relationship Id="rId8" Type="http://schemas.openxmlformats.org/officeDocument/2006/relationships/slideLayout" Target="../slideLayouts/slideLayout135.xml"/><Relationship Id="rId51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4.xml"/><Relationship Id="rId25" Type="http://schemas.openxmlformats.org/officeDocument/2006/relationships/slideLayout" Target="../slideLayouts/slideLayout152.xml"/><Relationship Id="rId33" Type="http://schemas.openxmlformats.org/officeDocument/2006/relationships/slideLayout" Target="../slideLayouts/slideLayout160.xml"/><Relationship Id="rId38" Type="http://schemas.openxmlformats.org/officeDocument/2006/relationships/slideLayout" Target="../slideLayouts/slideLayout165.xml"/><Relationship Id="rId46" Type="http://schemas.openxmlformats.org/officeDocument/2006/relationships/slideLayout" Target="../slideLayouts/slideLayout173.xml"/><Relationship Id="rId59" Type="http://schemas.openxmlformats.org/officeDocument/2006/relationships/slideLayout" Target="../slideLayouts/slideLayout186.xml"/><Relationship Id="rId67" Type="http://schemas.openxmlformats.org/officeDocument/2006/relationships/slideLayout" Target="../slideLayouts/slideLayout194.xml"/><Relationship Id="rId20" Type="http://schemas.openxmlformats.org/officeDocument/2006/relationships/slideLayout" Target="../slideLayouts/slideLayout147.xml"/><Relationship Id="rId41" Type="http://schemas.openxmlformats.org/officeDocument/2006/relationships/slideLayout" Target="../slideLayouts/slideLayout168.xml"/><Relationship Id="rId54" Type="http://schemas.openxmlformats.org/officeDocument/2006/relationships/slideLayout" Target="../slideLayouts/slideLayout181.xml"/><Relationship Id="rId62" Type="http://schemas.openxmlformats.org/officeDocument/2006/relationships/slideLayout" Target="../slideLayouts/slideLayout189.xml"/><Relationship Id="rId70" Type="http://schemas.openxmlformats.org/officeDocument/2006/relationships/image" Target="../media/image21.png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2.xml"/><Relationship Id="rId23" Type="http://schemas.openxmlformats.org/officeDocument/2006/relationships/slideLayout" Target="../slideLayouts/slideLayout150.xml"/><Relationship Id="rId28" Type="http://schemas.openxmlformats.org/officeDocument/2006/relationships/slideLayout" Target="../slideLayouts/slideLayout155.xml"/><Relationship Id="rId36" Type="http://schemas.openxmlformats.org/officeDocument/2006/relationships/slideLayout" Target="../slideLayouts/slideLayout163.xml"/><Relationship Id="rId49" Type="http://schemas.openxmlformats.org/officeDocument/2006/relationships/slideLayout" Target="../slideLayouts/slideLayout176.xml"/><Relationship Id="rId57" Type="http://schemas.openxmlformats.org/officeDocument/2006/relationships/slideLayout" Target="../slideLayouts/slideLayout184.xml"/><Relationship Id="rId10" Type="http://schemas.openxmlformats.org/officeDocument/2006/relationships/slideLayout" Target="../slideLayouts/slideLayout137.xml"/><Relationship Id="rId31" Type="http://schemas.openxmlformats.org/officeDocument/2006/relationships/slideLayout" Target="../slideLayouts/slideLayout158.xml"/><Relationship Id="rId44" Type="http://schemas.openxmlformats.org/officeDocument/2006/relationships/slideLayout" Target="../slideLayouts/slideLayout171.xml"/><Relationship Id="rId52" Type="http://schemas.openxmlformats.org/officeDocument/2006/relationships/slideLayout" Target="../slideLayouts/slideLayout179.xml"/><Relationship Id="rId60" Type="http://schemas.openxmlformats.org/officeDocument/2006/relationships/slideLayout" Target="../slideLayouts/slideLayout187.xml"/><Relationship Id="rId65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5.xml"/><Relationship Id="rId39" Type="http://schemas.openxmlformats.org/officeDocument/2006/relationships/slideLayout" Target="../slideLayouts/slideLayout166.xml"/><Relationship Id="rId34" Type="http://schemas.openxmlformats.org/officeDocument/2006/relationships/slideLayout" Target="../slideLayouts/slideLayout161.xml"/><Relationship Id="rId50" Type="http://schemas.openxmlformats.org/officeDocument/2006/relationships/slideLayout" Target="../slideLayouts/slideLayout177.xml"/><Relationship Id="rId55" Type="http://schemas.openxmlformats.org/officeDocument/2006/relationships/slideLayout" Target="../slideLayouts/slideLayout18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8.xml"/><Relationship Id="rId3" Type="http://schemas.openxmlformats.org/officeDocument/2006/relationships/slideLayout" Target="../slideLayouts/slideLayout198.xml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97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10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slideLayout" Target="../slideLayouts/slideLayout233.xml"/><Relationship Id="rId17" Type="http://schemas.openxmlformats.org/officeDocument/2006/relationships/image" Target="../media/image21.png"/><Relationship Id="rId2" Type="http://schemas.openxmlformats.org/officeDocument/2006/relationships/slideLayout" Target="../slideLayouts/slideLayout223.xml"/><Relationship Id="rId16" Type="http://schemas.openxmlformats.org/officeDocument/2006/relationships/image" Target="../media/image36.emf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tags" Target="../tags/tag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36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35.xml"/><Relationship Id="rId1" Type="http://schemas.openxmlformats.org/officeDocument/2006/relationships/slideLayout" Target="../slideLayouts/slideLayout234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238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237.xml"/><Relationship Id="rId9" Type="http://schemas.openxmlformats.org/officeDocument/2006/relationships/image" Target="../media/image36.emf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4.xml"/><Relationship Id="rId21" Type="http://schemas.openxmlformats.org/officeDocument/2006/relationships/slideLayout" Target="../slideLayouts/slideLayout259.xml"/><Relationship Id="rId42" Type="http://schemas.openxmlformats.org/officeDocument/2006/relationships/slideLayout" Target="../slideLayouts/slideLayout280.xml"/><Relationship Id="rId47" Type="http://schemas.openxmlformats.org/officeDocument/2006/relationships/slideLayout" Target="../slideLayouts/slideLayout285.xml"/><Relationship Id="rId63" Type="http://schemas.openxmlformats.org/officeDocument/2006/relationships/slideLayout" Target="../slideLayouts/slideLayout301.xml"/><Relationship Id="rId68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40.xml"/><Relationship Id="rId16" Type="http://schemas.openxmlformats.org/officeDocument/2006/relationships/slideLayout" Target="../slideLayouts/slideLayout254.xml"/><Relationship Id="rId29" Type="http://schemas.openxmlformats.org/officeDocument/2006/relationships/slideLayout" Target="../slideLayouts/slideLayout267.xml"/><Relationship Id="rId11" Type="http://schemas.openxmlformats.org/officeDocument/2006/relationships/slideLayout" Target="../slideLayouts/slideLayout249.xml"/><Relationship Id="rId24" Type="http://schemas.openxmlformats.org/officeDocument/2006/relationships/slideLayout" Target="../slideLayouts/slideLayout262.xml"/><Relationship Id="rId32" Type="http://schemas.openxmlformats.org/officeDocument/2006/relationships/slideLayout" Target="../slideLayouts/slideLayout270.xml"/><Relationship Id="rId37" Type="http://schemas.openxmlformats.org/officeDocument/2006/relationships/slideLayout" Target="../slideLayouts/slideLayout275.xml"/><Relationship Id="rId40" Type="http://schemas.openxmlformats.org/officeDocument/2006/relationships/slideLayout" Target="../slideLayouts/slideLayout278.xml"/><Relationship Id="rId45" Type="http://schemas.openxmlformats.org/officeDocument/2006/relationships/slideLayout" Target="../slideLayouts/slideLayout283.xml"/><Relationship Id="rId53" Type="http://schemas.openxmlformats.org/officeDocument/2006/relationships/slideLayout" Target="../slideLayouts/slideLayout291.xml"/><Relationship Id="rId58" Type="http://schemas.openxmlformats.org/officeDocument/2006/relationships/slideLayout" Target="../slideLayouts/slideLayout296.xml"/><Relationship Id="rId66" Type="http://schemas.openxmlformats.org/officeDocument/2006/relationships/slideLayout" Target="../slideLayouts/slideLayout304.xml"/><Relationship Id="rId74" Type="http://schemas.openxmlformats.org/officeDocument/2006/relationships/image" Target="../media/image5.png"/><Relationship Id="rId5" Type="http://schemas.openxmlformats.org/officeDocument/2006/relationships/slideLayout" Target="../slideLayouts/slideLayout243.xml"/><Relationship Id="rId61" Type="http://schemas.openxmlformats.org/officeDocument/2006/relationships/slideLayout" Target="../slideLayouts/slideLayout299.xml"/><Relationship Id="rId19" Type="http://schemas.openxmlformats.org/officeDocument/2006/relationships/slideLayout" Target="../slideLayouts/slideLayout257.xml"/><Relationship Id="rId14" Type="http://schemas.openxmlformats.org/officeDocument/2006/relationships/slideLayout" Target="../slideLayouts/slideLayout252.xml"/><Relationship Id="rId22" Type="http://schemas.openxmlformats.org/officeDocument/2006/relationships/slideLayout" Target="../slideLayouts/slideLayout260.xml"/><Relationship Id="rId27" Type="http://schemas.openxmlformats.org/officeDocument/2006/relationships/slideLayout" Target="../slideLayouts/slideLayout265.xml"/><Relationship Id="rId30" Type="http://schemas.openxmlformats.org/officeDocument/2006/relationships/slideLayout" Target="../slideLayouts/slideLayout268.xml"/><Relationship Id="rId35" Type="http://schemas.openxmlformats.org/officeDocument/2006/relationships/slideLayout" Target="../slideLayouts/slideLayout273.xml"/><Relationship Id="rId43" Type="http://schemas.openxmlformats.org/officeDocument/2006/relationships/slideLayout" Target="../slideLayouts/slideLayout281.xml"/><Relationship Id="rId48" Type="http://schemas.openxmlformats.org/officeDocument/2006/relationships/slideLayout" Target="../slideLayouts/slideLayout286.xml"/><Relationship Id="rId56" Type="http://schemas.openxmlformats.org/officeDocument/2006/relationships/slideLayout" Target="../slideLayouts/slideLayout294.xml"/><Relationship Id="rId64" Type="http://schemas.openxmlformats.org/officeDocument/2006/relationships/slideLayout" Target="../slideLayouts/slideLayout302.xml"/><Relationship Id="rId69" Type="http://schemas.openxmlformats.org/officeDocument/2006/relationships/slideLayout" Target="../slideLayouts/slideLayout307.xml"/><Relationship Id="rId8" Type="http://schemas.openxmlformats.org/officeDocument/2006/relationships/slideLayout" Target="../slideLayouts/slideLayout246.xml"/><Relationship Id="rId51" Type="http://schemas.openxmlformats.org/officeDocument/2006/relationships/slideLayout" Target="../slideLayouts/slideLayout289.xml"/><Relationship Id="rId72" Type="http://schemas.openxmlformats.org/officeDocument/2006/relationships/slideLayout" Target="../slideLayouts/slideLayout310.xml"/><Relationship Id="rId3" Type="http://schemas.openxmlformats.org/officeDocument/2006/relationships/slideLayout" Target="../slideLayouts/slideLayout241.xml"/><Relationship Id="rId12" Type="http://schemas.openxmlformats.org/officeDocument/2006/relationships/slideLayout" Target="../slideLayouts/slideLayout250.xml"/><Relationship Id="rId17" Type="http://schemas.openxmlformats.org/officeDocument/2006/relationships/slideLayout" Target="../slideLayouts/slideLayout255.xml"/><Relationship Id="rId25" Type="http://schemas.openxmlformats.org/officeDocument/2006/relationships/slideLayout" Target="../slideLayouts/slideLayout263.xml"/><Relationship Id="rId33" Type="http://schemas.openxmlformats.org/officeDocument/2006/relationships/slideLayout" Target="../slideLayouts/slideLayout271.xml"/><Relationship Id="rId38" Type="http://schemas.openxmlformats.org/officeDocument/2006/relationships/slideLayout" Target="../slideLayouts/slideLayout276.xml"/><Relationship Id="rId46" Type="http://schemas.openxmlformats.org/officeDocument/2006/relationships/slideLayout" Target="../slideLayouts/slideLayout284.xml"/><Relationship Id="rId59" Type="http://schemas.openxmlformats.org/officeDocument/2006/relationships/slideLayout" Target="../slideLayouts/slideLayout297.xml"/><Relationship Id="rId67" Type="http://schemas.openxmlformats.org/officeDocument/2006/relationships/slideLayout" Target="../slideLayouts/slideLayout305.xml"/><Relationship Id="rId20" Type="http://schemas.openxmlformats.org/officeDocument/2006/relationships/slideLayout" Target="../slideLayouts/slideLayout258.xml"/><Relationship Id="rId41" Type="http://schemas.openxmlformats.org/officeDocument/2006/relationships/slideLayout" Target="../slideLayouts/slideLayout279.xml"/><Relationship Id="rId54" Type="http://schemas.openxmlformats.org/officeDocument/2006/relationships/slideLayout" Target="../slideLayouts/slideLayout292.xml"/><Relationship Id="rId62" Type="http://schemas.openxmlformats.org/officeDocument/2006/relationships/slideLayout" Target="../slideLayouts/slideLayout300.xml"/><Relationship Id="rId70" Type="http://schemas.openxmlformats.org/officeDocument/2006/relationships/slideLayout" Target="../slideLayouts/slideLayout308.xml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5" Type="http://schemas.openxmlformats.org/officeDocument/2006/relationships/slideLayout" Target="../slideLayouts/slideLayout253.xml"/><Relationship Id="rId23" Type="http://schemas.openxmlformats.org/officeDocument/2006/relationships/slideLayout" Target="../slideLayouts/slideLayout261.xml"/><Relationship Id="rId28" Type="http://schemas.openxmlformats.org/officeDocument/2006/relationships/slideLayout" Target="../slideLayouts/slideLayout266.xml"/><Relationship Id="rId36" Type="http://schemas.openxmlformats.org/officeDocument/2006/relationships/slideLayout" Target="../slideLayouts/slideLayout274.xml"/><Relationship Id="rId49" Type="http://schemas.openxmlformats.org/officeDocument/2006/relationships/slideLayout" Target="../slideLayouts/slideLayout287.xml"/><Relationship Id="rId57" Type="http://schemas.openxmlformats.org/officeDocument/2006/relationships/slideLayout" Target="../slideLayouts/slideLayout295.xml"/><Relationship Id="rId10" Type="http://schemas.openxmlformats.org/officeDocument/2006/relationships/slideLayout" Target="../slideLayouts/slideLayout248.xml"/><Relationship Id="rId31" Type="http://schemas.openxmlformats.org/officeDocument/2006/relationships/slideLayout" Target="../slideLayouts/slideLayout269.xml"/><Relationship Id="rId44" Type="http://schemas.openxmlformats.org/officeDocument/2006/relationships/slideLayout" Target="../slideLayouts/slideLayout282.xml"/><Relationship Id="rId52" Type="http://schemas.openxmlformats.org/officeDocument/2006/relationships/slideLayout" Target="../slideLayouts/slideLayout290.xml"/><Relationship Id="rId60" Type="http://schemas.openxmlformats.org/officeDocument/2006/relationships/slideLayout" Target="../slideLayouts/slideLayout298.xml"/><Relationship Id="rId65" Type="http://schemas.openxmlformats.org/officeDocument/2006/relationships/slideLayout" Target="../slideLayouts/slideLayout303.xml"/><Relationship Id="rId73" Type="http://schemas.openxmlformats.org/officeDocument/2006/relationships/theme" Target="../theme/theme8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3" Type="http://schemas.openxmlformats.org/officeDocument/2006/relationships/slideLayout" Target="../slideLayouts/slideLayout251.xml"/><Relationship Id="rId18" Type="http://schemas.openxmlformats.org/officeDocument/2006/relationships/slideLayout" Target="../slideLayouts/slideLayout256.xml"/><Relationship Id="rId39" Type="http://schemas.openxmlformats.org/officeDocument/2006/relationships/slideLayout" Target="../slideLayouts/slideLayout277.xml"/><Relationship Id="rId34" Type="http://schemas.openxmlformats.org/officeDocument/2006/relationships/slideLayout" Target="../slideLayouts/slideLayout272.xml"/><Relationship Id="rId50" Type="http://schemas.openxmlformats.org/officeDocument/2006/relationships/slideLayout" Target="../slideLayouts/slideLayout288.xml"/><Relationship Id="rId55" Type="http://schemas.openxmlformats.org/officeDocument/2006/relationships/slideLayout" Target="../slideLayouts/slideLayout293.xml"/><Relationship Id="rId7" Type="http://schemas.openxmlformats.org/officeDocument/2006/relationships/slideLayout" Target="../slideLayouts/slideLayout245.xml"/><Relationship Id="rId71" Type="http://schemas.openxmlformats.org/officeDocument/2006/relationships/slideLayout" Target="../slideLayouts/slideLayout30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8.xml"/><Relationship Id="rId3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317.xml"/><Relationship Id="rId2" Type="http://schemas.openxmlformats.org/officeDocument/2006/relationships/slideLayout" Target="../slideLayouts/slideLayout312.xml"/><Relationship Id="rId1" Type="http://schemas.openxmlformats.org/officeDocument/2006/relationships/slideLayout" Target="../slideLayouts/slideLayout311.xml"/><Relationship Id="rId6" Type="http://schemas.openxmlformats.org/officeDocument/2006/relationships/slideLayout" Target="../slideLayouts/slideLayout316.xml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315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314.xml"/><Relationship Id="rId9" Type="http://schemas.openxmlformats.org/officeDocument/2006/relationships/slideLayout" Target="../slideLayouts/slideLayout3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537459" y="505937"/>
            <a:ext cx="11117083" cy="58477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189654" y="6327574"/>
            <a:ext cx="464888" cy="2380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5"/>
                </a:solidFill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/>
          <p:cNvCxnSpPr>
            <a:cxnSpLocks/>
          </p:cNvCxnSpPr>
          <p:nvPr userDrawn="1"/>
        </p:nvCxnSpPr>
        <p:spPr>
          <a:xfrm>
            <a:off x="622301" y="6223334"/>
            <a:ext cx="109315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2819400" y="6323715"/>
            <a:ext cx="7193282" cy="245776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D543A4-DB23-4DCA-833E-17026CDF0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391" y="1377539"/>
            <a:ext cx="11139054" cy="4678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F716FE4-ACCB-44AB-A7B9-4C13936B52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10217150" y="6327578"/>
            <a:ext cx="866140" cy="2380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fld id="{16AFBD0B-4660-4E70-B829-5C42143E061D}" type="datetime1">
              <a:rPr lang="en-US" smtClean="0"/>
              <a:t>10/17/2024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64D412-F064-400C-8012-40BEB9578E7A}"/>
              </a:ext>
            </a:extLst>
          </p:cNvPr>
          <p:cNvPicPr>
            <a:picLocks noChangeAspect="1"/>
          </p:cNvPicPr>
          <p:nvPr userDrawn="1"/>
        </p:nvPicPr>
        <p:blipFill>
          <a:blip r:embed="rId6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679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47" r:id="rId1"/>
    <p:sldLayoutId id="2147485748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995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</p:sldLayoutIdLst>
  <p:hf hdr="0" ftr="0"/>
  <p:txStyles>
    <p:titleStyle>
      <a:lvl1pPr algn="l" defTabSz="914363" rtl="0" eaLnBrk="1" latinLnBrk="0" hangingPunct="1">
        <a:lnSpc>
          <a:spcPct val="100000"/>
        </a:lnSpc>
        <a:spcBef>
          <a:spcPct val="0"/>
        </a:spcBef>
        <a:buNone/>
        <a:defRPr sz="3200" kern="1200" spc="-2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689" indent="-266689" algn="l" defTabSz="914363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32" indent="-184143" algn="l" defTabSz="914363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4" indent="-228591" algn="l" defTabSz="914363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6" indent="-228591" algn="l" defTabSz="914363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8" indent="-228591" algn="l" defTabSz="914363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537459" y="505937"/>
            <a:ext cx="11117083" cy="600164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189654" y="6327573"/>
            <a:ext cx="464888" cy="2380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5"/>
                </a:solidFill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/>
          <p:cNvCxnSpPr>
            <a:cxnSpLocks/>
          </p:cNvCxnSpPr>
          <p:nvPr userDrawn="1"/>
        </p:nvCxnSpPr>
        <p:spPr>
          <a:xfrm>
            <a:off x="622300" y="6223334"/>
            <a:ext cx="109315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2819400" y="6323714"/>
            <a:ext cx="7193282" cy="245776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D543A4-DB23-4DCA-833E-17026CDF0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390" y="1377539"/>
            <a:ext cx="11139054" cy="4678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F716FE4-ACCB-44AB-A7B9-4C13936B52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10217150" y="6327577"/>
            <a:ext cx="866140" cy="2380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fld id="{A8738B43-7914-4A6E-AC65-33D920C83EC7}" type="datetime1">
              <a:rPr lang="en-US" smtClean="0"/>
              <a:t>10/17/2024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64D412-F064-400C-8012-40BEB9578E7A}"/>
              </a:ext>
            </a:extLst>
          </p:cNvPr>
          <p:cNvPicPr>
            <a:picLocks noChangeAspect="1"/>
          </p:cNvPicPr>
          <p:nvPr userDrawn="1"/>
        </p:nvPicPr>
        <p:blipFill>
          <a:blip r:embed="rId6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89" y="6346190"/>
            <a:ext cx="761937" cy="21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427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84" r:id="rId3"/>
    <p:sldLayoutId id="2147483733" r:id="rId4"/>
    <p:sldLayoutId id="2147483874" r:id="rId5"/>
    <p:sldLayoutId id="2147483734" r:id="rId6"/>
    <p:sldLayoutId id="2147483876" r:id="rId7"/>
    <p:sldLayoutId id="2147483879" r:id="rId8"/>
    <p:sldLayoutId id="2147483880" r:id="rId9"/>
    <p:sldLayoutId id="2147483881" r:id="rId10"/>
    <p:sldLayoutId id="2147483877" r:id="rId11"/>
    <p:sldLayoutId id="2147483735" r:id="rId12"/>
    <p:sldLayoutId id="2147483882" r:id="rId13"/>
    <p:sldLayoutId id="2147483883" r:id="rId14"/>
    <p:sldLayoutId id="2147483787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86" r:id="rId25"/>
    <p:sldLayoutId id="2147483746" r:id="rId26"/>
    <p:sldLayoutId id="2147483885" r:id="rId27"/>
    <p:sldLayoutId id="2147483750" r:id="rId28"/>
    <p:sldLayoutId id="2147483751" r:id="rId29"/>
    <p:sldLayoutId id="2147483752" r:id="rId30"/>
    <p:sldLayoutId id="2147483753" r:id="rId31"/>
    <p:sldLayoutId id="2147483754" r:id="rId32"/>
    <p:sldLayoutId id="2147483755" r:id="rId33"/>
    <p:sldLayoutId id="2147483756" r:id="rId34"/>
    <p:sldLayoutId id="2147483785" r:id="rId35"/>
    <p:sldLayoutId id="2147483757" r:id="rId36"/>
    <p:sldLayoutId id="2147483758" r:id="rId37"/>
    <p:sldLayoutId id="2147483759" r:id="rId38"/>
    <p:sldLayoutId id="2147483760" r:id="rId39"/>
    <p:sldLayoutId id="2147483761" r:id="rId40"/>
    <p:sldLayoutId id="2147483762" r:id="rId41"/>
    <p:sldLayoutId id="2147483789" r:id="rId42"/>
    <p:sldLayoutId id="2147483783" r:id="rId43"/>
    <p:sldLayoutId id="2147483763" r:id="rId44"/>
    <p:sldLayoutId id="2147483764" r:id="rId45"/>
    <p:sldLayoutId id="2147483765" r:id="rId46"/>
    <p:sldLayoutId id="2147483766" r:id="rId47"/>
    <p:sldLayoutId id="2147483767" r:id="rId48"/>
    <p:sldLayoutId id="2147483768" r:id="rId49"/>
    <p:sldLayoutId id="2147483769" r:id="rId50"/>
    <p:sldLayoutId id="2147483770" r:id="rId51"/>
    <p:sldLayoutId id="2147483771" r:id="rId52"/>
    <p:sldLayoutId id="2147483772" r:id="rId53"/>
    <p:sldLayoutId id="2147483773" r:id="rId54"/>
    <p:sldLayoutId id="2147483774" r:id="rId55"/>
    <p:sldLayoutId id="2147483775" r:id="rId56"/>
    <p:sldLayoutId id="2147483776" r:id="rId57"/>
    <p:sldLayoutId id="2147483777" r:id="rId58"/>
    <p:sldLayoutId id="2147483778" r:id="rId59"/>
    <p:sldLayoutId id="2147483779" r:id="rId60"/>
    <p:sldLayoutId id="2147483780" r:id="rId61"/>
    <p:sldLayoutId id="2147483781" r:id="rId62"/>
    <p:sldLayoutId id="2147483782" r:id="rId63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spc="-2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537459" y="505937"/>
            <a:ext cx="11117083" cy="58477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189654" y="6327574"/>
            <a:ext cx="464888" cy="2380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5"/>
                </a:solidFill>
                <a:latin typeface="Work Sans" panose="00000500000000000000" pitchFamily="2" charset="0"/>
              </a:defRPr>
            </a:lvl1pPr>
          </a:lstStyle>
          <a:p>
            <a:fld id="{19A725F3-83D0-4529-A15C-9D644B8C51E0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622301" y="6223334"/>
            <a:ext cx="109315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2819400" y="6323715"/>
            <a:ext cx="7193282" cy="245776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r>
              <a:rPr lang="en-US"/>
              <a:t>Restricted and Confidential © KPIT Technologies Limited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D543A4-DB23-4DCA-833E-17026CDF0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391" y="1377539"/>
            <a:ext cx="11139054" cy="4678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F716FE4-ACCB-44AB-A7B9-4C13936B52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10217150" y="6327578"/>
            <a:ext cx="866140" cy="2380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fld id="{5A5A2814-82D0-466D-B230-3AB031EA5416}" type="datetime1">
              <a:rPr lang="en-US" smtClean="0"/>
              <a:t>10/17/2024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64D412-F064-400C-8012-40BEB9578E7A}"/>
              </a:ext>
            </a:extLst>
          </p:cNvPr>
          <p:cNvPicPr>
            <a:picLocks noChangeAspect="1"/>
          </p:cNvPicPr>
          <p:nvPr/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244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4589" r:id="rId5"/>
    <p:sldLayoutId id="2147484590" r:id="rId6"/>
    <p:sldLayoutId id="2147484591" r:id="rId7"/>
    <p:sldLayoutId id="2147484593" r:id="rId8"/>
    <p:sldLayoutId id="2147484595" r:id="rId9"/>
    <p:sldLayoutId id="2147484601" r:id="rId10"/>
    <p:sldLayoutId id="2147484605" r:id="rId11"/>
    <p:sldLayoutId id="2147484606" r:id="rId12"/>
    <p:sldLayoutId id="2147484607" r:id="rId13"/>
    <p:sldLayoutId id="2147484608" r:id="rId14"/>
    <p:sldLayoutId id="2147484609" r:id="rId15"/>
    <p:sldLayoutId id="2147484610" r:id="rId16"/>
    <p:sldLayoutId id="2147484611" r:id="rId17"/>
    <p:sldLayoutId id="2147484612" r:id="rId18"/>
    <p:sldLayoutId id="2147484613" r:id="rId19"/>
    <p:sldLayoutId id="2147483745" r:id="rId20"/>
    <p:sldLayoutId id="2147484615" r:id="rId21"/>
    <p:sldLayoutId id="2147483747" r:id="rId22"/>
    <p:sldLayoutId id="2147483748" r:id="rId23"/>
    <p:sldLayoutId id="2147483749" r:id="rId24"/>
    <p:sldLayoutId id="2147484617" r:id="rId25"/>
    <p:sldLayoutId id="2147484618" r:id="rId26"/>
    <p:sldLayoutId id="2147484619" r:id="rId27"/>
    <p:sldLayoutId id="2147484620" r:id="rId28"/>
    <p:sldLayoutId id="2147484621" r:id="rId29"/>
    <p:sldLayoutId id="2147484622" r:id="rId30"/>
    <p:sldLayoutId id="2147484623" r:id="rId31"/>
    <p:sldLayoutId id="2147484625" r:id="rId32"/>
    <p:sldLayoutId id="2147484626" r:id="rId33"/>
    <p:sldLayoutId id="2147484627" r:id="rId34"/>
    <p:sldLayoutId id="2147484628" r:id="rId35"/>
    <p:sldLayoutId id="2147484629" r:id="rId36"/>
    <p:sldLayoutId id="2147484630" r:id="rId37"/>
    <p:sldLayoutId id="2147484633" r:id="rId38"/>
    <p:sldLayoutId id="2147484634" r:id="rId39"/>
    <p:sldLayoutId id="2147484635" r:id="rId40"/>
    <p:sldLayoutId id="2147484636" r:id="rId41"/>
    <p:sldLayoutId id="2147484637" r:id="rId42"/>
    <p:sldLayoutId id="2147484638" r:id="rId43"/>
    <p:sldLayoutId id="2147484639" r:id="rId44"/>
    <p:sldLayoutId id="2147484640" r:id="rId45"/>
    <p:sldLayoutId id="2147484641" r:id="rId46"/>
    <p:sldLayoutId id="2147484642" r:id="rId47"/>
    <p:sldLayoutId id="2147484643" r:id="rId48"/>
    <p:sldLayoutId id="2147484644" r:id="rId49"/>
    <p:sldLayoutId id="2147484645" r:id="rId50"/>
    <p:sldLayoutId id="2147484646" r:id="rId51"/>
    <p:sldLayoutId id="2147484647" r:id="rId52"/>
    <p:sldLayoutId id="2147484648" r:id="rId53"/>
    <p:sldLayoutId id="2147484649" r:id="rId54"/>
    <p:sldLayoutId id="2147484650" r:id="rId55"/>
    <p:sldLayoutId id="2147484651" r:id="rId56"/>
    <p:sldLayoutId id="2147484652" r:id="rId57"/>
    <p:sldLayoutId id="2147484632" r:id="rId58"/>
    <p:sldLayoutId id="2147484592" r:id="rId59"/>
    <p:sldLayoutId id="2147484624" r:id="rId60"/>
    <p:sldLayoutId id="2147484614" r:id="rId61"/>
    <p:sldLayoutId id="2147484604" r:id="rId62"/>
    <p:sldLayoutId id="2147483788" r:id="rId63"/>
    <p:sldLayoutId id="2147484631" r:id="rId64"/>
  </p:sldLayoutIdLst>
  <p:hf hdr="0"/>
  <p:txStyles>
    <p:titleStyle>
      <a:lvl1pPr algn="l" defTabSz="914363" rtl="0" eaLnBrk="1" latinLnBrk="0" hangingPunct="1">
        <a:lnSpc>
          <a:spcPct val="100000"/>
        </a:lnSpc>
        <a:spcBef>
          <a:spcPct val="0"/>
        </a:spcBef>
        <a:buNone/>
        <a:defRPr sz="3200" kern="1200" spc="-2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689" indent="-266689" algn="l" defTabSz="914363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32" indent="-184143" algn="l" defTabSz="914363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4" indent="-228591" algn="l" defTabSz="914363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6" indent="-228591" algn="l" defTabSz="914363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8" indent="-228591" algn="l" defTabSz="914363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537460" y="505938"/>
            <a:ext cx="11117083" cy="57387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189654" y="6327575"/>
            <a:ext cx="464888" cy="2380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8">
                <a:solidFill>
                  <a:schemeClr val="accent5"/>
                </a:solidFill>
                <a:latin typeface="Work Sans" panose="00000500000000000000" pitchFamily="2" charset="0"/>
              </a:defRPr>
            </a:lvl1pPr>
          </a:lstStyle>
          <a:p>
            <a:pPr defTabSz="304803"/>
            <a:fld id="{4E6DB2D9-BBD8-435B-B34A-9B8472CE273E}" type="slidenum">
              <a:rPr lang="en-US" smtClean="0">
                <a:solidFill>
                  <a:srgbClr val="622AD8"/>
                </a:solidFill>
              </a:rPr>
              <a:pPr defTabSz="304803"/>
              <a:t>‹#›</a:t>
            </a:fld>
            <a:endParaRPr lang="en-US">
              <a:solidFill>
                <a:srgbClr val="622AD8"/>
              </a:solidFill>
            </a:endParaRPr>
          </a:p>
        </p:txBody>
      </p:sp>
      <p:cxnSp>
        <p:nvCxnSpPr>
          <p:cNvPr id="6" name="Straight Connector 5"/>
          <p:cNvCxnSpPr>
            <a:cxnSpLocks/>
          </p:cNvCxnSpPr>
          <p:nvPr userDrawn="1"/>
        </p:nvCxnSpPr>
        <p:spPr>
          <a:xfrm>
            <a:off x="622302" y="6223334"/>
            <a:ext cx="109315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2819400" y="6323715"/>
            <a:ext cx="7193282" cy="245776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45720" rIns="91440" bIns="45720" rtlCol="0" anchor="ctr"/>
          <a:lstStyle>
            <a:lvl1pPr algn="r">
              <a:defRPr sz="978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pPr defTabSz="304803"/>
            <a:r>
              <a:rPr lang="en-US">
                <a:solidFill>
                  <a:srgbClr val="161718">
                    <a:lumMod val="50000"/>
                    <a:lumOff val="50000"/>
                  </a:srgbClr>
                </a:solidFill>
              </a:rPr>
              <a:t>Restricted and Confidential © Work Sans 10 p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D543A4-DB23-4DCA-833E-17026CDF0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391" y="1377539"/>
            <a:ext cx="11139054" cy="4678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F716FE4-ACCB-44AB-A7B9-4C13936B52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10217150" y="6327579"/>
            <a:ext cx="866140" cy="2380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8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pPr defTabSz="304803"/>
            <a:fld id="{16AFBD0B-4660-4E70-B829-5C42143E061D}" type="datetime1">
              <a:rPr lang="en-US" smtClean="0">
                <a:solidFill>
                  <a:srgbClr val="161718">
                    <a:lumMod val="50000"/>
                    <a:lumOff val="50000"/>
                  </a:srgbClr>
                </a:solidFill>
              </a:rPr>
              <a:pPr defTabSz="304803"/>
              <a:t>10/17/2024</a:t>
            </a:fld>
            <a:endParaRPr lang="en-US">
              <a:solidFill>
                <a:srgbClr val="161718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64D412-F064-400C-8012-40BEB9578E7A}"/>
              </a:ext>
            </a:extLst>
          </p:cNvPr>
          <p:cNvPicPr>
            <a:picLocks noChangeAspect="1"/>
          </p:cNvPicPr>
          <p:nvPr userDrawn="1"/>
        </p:nvPicPr>
        <p:blipFill>
          <a:blip r:embed="rId7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91" y="6346190"/>
            <a:ext cx="761937" cy="21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97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  <p:sldLayoutId id="2147483821" r:id="rId17"/>
    <p:sldLayoutId id="2147483822" r:id="rId18"/>
    <p:sldLayoutId id="2147483823" r:id="rId19"/>
    <p:sldLayoutId id="2147483824" r:id="rId20"/>
    <p:sldLayoutId id="2147483825" r:id="rId21"/>
    <p:sldLayoutId id="2147483826" r:id="rId22"/>
    <p:sldLayoutId id="2147483827" r:id="rId23"/>
    <p:sldLayoutId id="2147483828" r:id="rId24"/>
    <p:sldLayoutId id="2147483829" r:id="rId25"/>
    <p:sldLayoutId id="2147483830" r:id="rId26"/>
    <p:sldLayoutId id="2147483831" r:id="rId27"/>
    <p:sldLayoutId id="2147483832" r:id="rId28"/>
    <p:sldLayoutId id="2147483833" r:id="rId29"/>
    <p:sldLayoutId id="2147483834" r:id="rId30"/>
    <p:sldLayoutId id="2147483835" r:id="rId31"/>
    <p:sldLayoutId id="2147483836" r:id="rId32"/>
    <p:sldLayoutId id="2147483837" r:id="rId33"/>
    <p:sldLayoutId id="2147483838" r:id="rId34"/>
    <p:sldLayoutId id="2147483839" r:id="rId35"/>
    <p:sldLayoutId id="2147483840" r:id="rId36"/>
    <p:sldLayoutId id="2147483841" r:id="rId37"/>
    <p:sldLayoutId id="2147483842" r:id="rId38"/>
    <p:sldLayoutId id="2147483843" r:id="rId39"/>
    <p:sldLayoutId id="2147483844" r:id="rId40"/>
    <p:sldLayoutId id="2147483845" r:id="rId41"/>
    <p:sldLayoutId id="2147483846" r:id="rId42"/>
    <p:sldLayoutId id="2147483847" r:id="rId43"/>
    <p:sldLayoutId id="2147483848" r:id="rId44"/>
    <p:sldLayoutId id="2147483849" r:id="rId45"/>
    <p:sldLayoutId id="2147483850" r:id="rId46"/>
    <p:sldLayoutId id="2147483851" r:id="rId47"/>
    <p:sldLayoutId id="2147483852" r:id="rId48"/>
    <p:sldLayoutId id="2147483853" r:id="rId49"/>
    <p:sldLayoutId id="2147483854" r:id="rId50"/>
    <p:sldLayoutId id="2147483855" r:id="rId51"/>
    <p:sldLayoutId id="2147483856" r:id="rId52"/>
    <p:sldLayoutId id="2147483857" r:id="rId53"/>
    <p:sldLayoutId id="2147483858" r:id="rId54"/>
    <p:sldLayoutId id="2147483859" r:id="rId55"/>
    <p:sldLayoutId id="2147483860" r:id="rId56"/>
    <p:sldLayoutId id="2147483861" r:id="rId57"/>
    <p:sldLayoutId id="2147483862" r:id="rId58"/>
    <p:sldLayoutId id="2147483863" r:id="rId59"/>
    <p:sldLayoutId id="2147483864" r:id="rId60"/>
    <p:sldLayoutId id="2147483865" r:id="rId61"/>
    <p:sldLayoutId id="2147483866" r:id="rId62"/>
    <p:sldLayoutId id="2147483867" r:id="rId63"/>
    <p:sldLayoutId id="2147483868" r:id="rId64"/>
    <p:sldLayoutId id="2147483869" r:id="rId65"/>
    <p:sldLayoutId id="2147483870" r:id="rId66"/>
    <p:sldLayoutId id="2147483871" r:id="rId67"/>
    <p:sldLayoutId id="2147483872" r:id="rId68"/>
  </p:sldLayoutIdLst>
  <p:hf hdr="0" ftr="0"/>
  <p:txStyles>
    <p:titleStyle>
      <a:lvl1pPr algn="l" defTabSz="894109" rtl="0" eaLnBrk="1" latinLnBrk="0" hangingPunct="1">
        <a:lnSpc>
          <a:spcPct val="100000"/>
        </a:lnSpc>
        <a:spcBef>
          <a:spcPct val="0"/>
        </a:spcBef>
        <a:buNone/>
        <a:defRPr sz="3129" kern="1200" spc="-19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0781" indent="-260781" algn="l" defTabSz="894109" rtl="0" eaLnBrk="1" latinLnBrk="0" hangingPunct="1">
        <a:lnSpc>
          <a:spcPct val="117000"/>
        </a:lnSpc>
        <a:spcBef>
          <a:spcPts val="0"/>
        </a:spcBef>
        <a:spcAft>
          <a:spcPts val="587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1pPr>
      <a:lvl2pPr marL="440846" indent="-180064" algn="l" defTabSz="894109" rtl="0" eaLnBrk="1" latinLnBrk="0" hangingPunct="1">
        <a:lnSpc>
          <a:spcPct val="117000"/>
        </a:lnSpc>
        <a:spcBef>
          <a:spcPts val="0"/>
        </a:spcBef>
        <a:spcAft>
          <a:spcPts val="587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2pPr>
      <a:lvl3pPr marL="1117636" indent="-223528" algn="l" defTabSz="894109" rtl="0" eaLnBrk="1" latinLnBrk="0" hangingPunct="1">
        <a:lnSpc>
          <a:spcPct val="90000"/>
        </a:lnSpc>
        <a:spcBef>
          <a:spcPts val="0"/>
        </a:spcBef>
        <a:spcAft>
          <a:spcPts val="587"/>
        </a:spcAft>
        <a:buClr>
          <a:schemeClr val="tx1"/>
        </a:buClr>
        <a:buFont typeface="Work Sans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3pPr>
      <a:lvl4pPr marL="1564692" indent="-223528" algn="l" defTabSz="894109" rtl="0" eaLnBrk="1" latinLnBrk="0" hangingPunct="1">
        <a:lnSpc>
          <a:spcPct val="90000"/>
        </a:lnSpc>
        <a:spcBef>
          <a:spcPts val="0"/>
        </a:spcBef>
        <a:spcAft>
          <a:spcPts val="587"/>
        </a:spcAft>
        <a:buClr>
          <a:schemeClr val="tx1"/>
        </a:buClr>
        <a:buFont typeface="Work Sans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4pPr>
      <a:lvl5pPr marL="2011746" indent="-223528" algn="l" defTabSz="894109" rtl="0" eaLnBrk="1" latinLnBrk="0" hangingPunct="1">
        <a:lnSpc>
          <a:spcPct val="90000"/>
        </a:lnSpc>
        <a:spcBef>
          <a:spcPts val="0"/>
        </a:spcBef>
        <a:spcAft>
          <a:spcPts val="587"/>
        </a:spcAft>
        <a:buClr>
          <a:schemeClr val="tx1"/>
        </a:buClr>
        <a:buFont typeface="Work Sans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5pPr>
      <a:lvl6pPr marL="2458801" indent="-223528" algn="l" defTabSz="894109" rtl="0" eaLnBrk="1" latinLnBrk="0" hangingPunct="1">
        <a:lnSpc>
          <a:spcPct val="90000"/>
        </a:lnSpc>
        <a:spcBef>
          <a:spcPts val="489"/>
        </a:spcBef>
        <a:buFont typeface="Work Sans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6pPr>
      <a:lvl7pPr marL="2905855" indent="-223528" algn="l" defTabSz="894109" rtl="0" eaLnBrk="1" latinLnBrk="0" hangingPunct="1">
        <a:lnSpc>
          <a:spcPct val="90000"/>
        </a:lnSpc>
        <a:spcBef>
          <a:spcPts val="489"/>
        </a:spcBef>
        <a:buFont typeface="Work Sans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7pPr>
      <a:lvl8pPr marL="3352910" indent="-223528" algn="l" defTabSz="894109" rtl="0" eaLnBrk="1" latinLnBrk="0" hangingPunct="1">
        <a:lnSpc>
          <a:spcPct val="90000"/>
        </a:lnSpc>
        <a:spcBef>
          <a:spcPts val="489"/>
        </a:spcBef>
        <a:buFont typeface="Work Sans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8pPr>
      <a:lvl9pPr marL="3799965" indent="-223528" algn="l" defTabSz="894109" rtl="0" eaLnBrk="1" latinLnBrk="0" hangingPunct="1">
        <a:lnSpc>
          <a:spcPct val="90000"/>
        </a:lnSpc>
        <a:spcBef>
          <a:spcPts val="489"/>
        </a:spcBef>
        <a:buFont typeface="Work Sans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4109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1pPr>
      <a:lvl2pPr marL="447054" algn="l" defTabSz="894109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2pPr>
      <a:lvl3pPr marL="894109" algn="l" defTabSz="894109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3pPr>
      <a:lvl4pPr marL="1341165" algn="l" defTabSz="894109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4pPr>
      <a:lvl5pPr marL="1788218" algn="l" defTabSz="894109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5pPr>
      <a:lvl6pPr marL="2235272" algn="l" defTabSz="894109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6pPr>
      <a:lvl7pPr marL="2682328" algn="l" defTabSz="894109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7pPr>
      <a:lvl8pPr marL="3129383" algn="l" defTabSz="894109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8pPr>
      <a:lvl9pPr marL="3576437" algn="l" defTabSz="894109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537459" y="505937"/>
            <a:ext cx="11117083" cy="600164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189654" y="6327573"/>
            <a:ext cx="464888" cy="2380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5"/>
                </a:solidFill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/>
          <p:cNvCxnSpPr>
            <a:cxnSpLocks/>
          </p:cNvCxnSpPr>
          <p:nvPr userDrawn="1"/>
        </p:nvCxnSpPr>
        <p:spPr>
          <a:xfrm>
            <a:off x="622300" y="6223334"/>
            <a:ext cx="109315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2819400" y="6323714"/>
            <a:ext cx="7193282" cy="245776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D543A4-DB23-4DCA-833E-17026CDF0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390" y="1377539"/>
            <a:ext cx="11139054" cy="4678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F716FE4-ACCB-44AB-A7B9-4C13936B52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10217150" y="6327577"/>
            <a:ext cx="866140" cy="2380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fld id="{16AFBD0B-4660-4E70-B829-5C42143E061D}" type="datetime1">
              <a:rPr lang="en-US" smtClean="0"/>
              <a:t>10/17/2024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64D412-F064-400C-8012-40BEB9578E7A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89" y="6346190"/>
            <a:ext cx="761937" cy="21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453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4" r:id="rId1"/>
    <p:sldLayoutId id="2147483875" r:id="rId2"/>
    <p:sldLayoutId id="2147484596" r:id="rId3"/>
    <p:sldLayoutId id="2147484600" r:id="rId4"/>
    <p:sldLayoutId id="2147483878" r:id="rId5"/>
    <p:sldLayoutId id="2147484597" r:id="rId6"/>
    <p:sldLayoutId id="2147484598" r:id="rId7"/>
    <p:sldLayoutId id="2147484599" r:id="rId8"/>
    <p:sldLayoutId id="2147484602" r:id="rId9"/>
    <p:sldLayoutId id="2147484603" r:id="rId10"/>
    <p:sldLayoutId id="2147483884" r:id="rId11"/>
    <p:sldLayoutId id="2147484616" r:id="rId12"/>
    <p:sldLayoutId id="2147483674" r:id="rId13"/>
    <p:sldLayoutId id="2147483889" r:id="rId14"/>
    <p:sldLayoutId id="2147483890" r:id="rId1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spc="-2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Espace réservé du pied de page 30">
            <a:extLst>
              <a:ext uri="{FF2B5EF4-FFF2-40B4-BE49-F238E27FC236}">
                <a16:creationId xmlns:a16="http://schemas.microsoft.com/office/drawing/2014/main" id="{EFD3CD4C-C046-44F2-9C39-75791495C1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68753" y="6479633"/>
            <a:ext cx="6044698" cy="15766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lang="fr-FR" sz="9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fr-FR"/>
              <a:t>Avant-proje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F1109BB-9CF6-7F46-883A-3ED6C11FBE6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58250" y="6479633"/>
            <a:ext cx="244800" cy="15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 anchorCtr="0"/>
          <a:lstStyle/>
          <a:p>
            <a:pPr marL="0" algn="r" defTabSz="914400" rtl="0" eaLnBrk="1" latinLnBrk="0" hangingPunct="1"/>
            <a:fld id="{78210625-ECA7-4862-B00E-5DC0AA3A3D4E}" type="slidenum">
              <a:rPr lang="en-GB" sz="900" b="1" kern="1200" noProof="1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GB" sz="900" b="1" kern="1200" noProof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6479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4653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Renault Group Light" pitchFamily="2" charset="0"/>
          <a:ea typeface="+mn-ea"/>
          <a:cs typeface="+mn-cs"/>
        </a:defRPr>
      </a:lvl1pPr>
      <a:lvl2pPr marL="126000" indent="-126000" algn="l" defTabSz="914377" rtl="0" eaLnBrk="1" latinLnBrk="0" hangingPunct="1">
        <a:lnSpc>
          <a:spcPct val="90000"/>
        </a:lnSpc>
        <a:spcBef>
          <a:spcPts val="0"/>
        </a:spcBef>
        <a:spcAft>
          <a:spcPts val="200"/>
        </a:spcAft>
        <a:buClr>
          <a:schemeClr val="tx2"/>
        </a:buClr>
        <a:buFont typeface="Wingdings" panose="05000000000000000000" pitchFamily="2" charset="2"/>
        <a:buChar char=""/>
        <a:defRPr sz="1400" kern="1200">
          <a:solidFill>
            <a:schemeClr val="tx1"/>
          </a:solidFill>
          <a:latin typeface="Renault Group Light" pitchFamily="2" charset="0"/>
          <a:ea typeface="+mn-ea"/>
          <a:cs typeface="+mn-cs"/>
        </a:defRPr>
      </a:lvl2pPr>
      <a:lvl3pPr marL="306000" indent="-180000" algn="l" defTabSz="914377" rtl="0" eaLnBrk="1" latinLnBrk="0" hangingPunct="1">
        <a:lnSpc>
          <a:spcPct val="90000"/>
        </a:lnSpc>
        <a:spcBef>
          <a:spcPts val="0"/>
        </a:spcBef>
        <a:spcAft>
          <a:spcPts val="200"/>
        </a:spcAft>
        <a:buClr>
          <a:schemeClr val="tx2"/>
        </a:buClr>
        <a:buFont typeface="Renault Group" pitchFamily="2" charset="0"/>
        <a:buChar char="—"/>
        <a:defRPr sz="1400" kern="1200">
          <a:solidFill>
            <a:schemeClr val="tx1"/>
          </a:solidFill>
          <a:latin typeface="Renault Group Light" pitchFamily="2" charset="0"/>
          <a:ea typeface="+mn-ea"/>
          <a:cs typeface="+mn-cs"/>
        </a:defRPr>
      </a:lvl3pPr>
      <a:lvl4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2"/>
          </a:solidFill>
          <a:latin typeface="Renault Group Semibold" pitchFamily="2" charset="0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pos="306">
          <p15:clr>
            <a:srgbClr val="F26B43"/>
          </p15:clr>
        </p15:guide>
        <p15:guide id="6" pos="7372">
          <p15:clr>
            <a:srgbClr val="F26B43"/>
          </p15:clr>
        </p15:guide>
        <p15:guide id="8" orient="horz" pos="306">
          <p15:clr>
            <a:srgbClr val="F26B43"/>
          </p15:clr>
        </p15:guide>
        <p15:guide id="9" orient="horz" pos="4012">
          <p15:clr>
            <a:srgbClr val="F26B43"/>
          </p15:clr>
        </p15:guide>
        <p15:guide id="18" orient="horz" pos="4164">
          <p15:clr>
            <a:srgbClr val="F26B43"/>
          </p15:clr>
        </p15:guide>
        <p15:guide id="19" orient="horz" pos="55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5F4B851-EB8B-4DE5-B2CB-40D6E78794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10467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5F4B851-EB8B-4DE5-B2CB-40D6E7879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537459" y="505937"/>
            <a:ext cx="11117083" cy="600164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189654" y="6327573"/>
            <a:ext cx="464888" cy="2380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5"/>
                </a:solidFill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/>
          <p:cNvCxnSpPr>
            <a:cxnSpLocks/>
          </p:cNvCxnSpPr>
          <p:nvPr userDrawn="1"/>
        </p:nvCxnSpPr>
        <p:spPr>
          <a:xfrm>
            <a:off x="622300" y="6223334"/>
            <a:ext cx="109315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2819400" y="6323714"/>
            <a:ext cx="7193282" cy="245776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D543A4-DB23-4DCA-833E-17026CDF0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390" y="1377539"/>
            <a:ext cx="11139054" cy="4678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F716FE4-ACCB-44AB-A7B9-4C13936B52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10217150" y="6327577"/>
            <a:ext cx="866140" cy="2380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fld id="{51A0748F-6B1E-44D2-89F9-D847E3C32520}" type="datetime1">
              <a:rPr lang="en-US" smtClean="0"/>
              <a:t>10/17/2024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64D412-F064-400C-8012-40BEB9578E7A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89" y="6346190"/>
            <a:ext cx="761937" cy="21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261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  <p:sldLayoutId id="2147483982" r:id="rId12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spc="-2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5F4B851-EB8B-4DE5-B2CB-40D6E78794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5F4B851-EB8B-4DE5-B2CB-40D6E7879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182880" y="182880"/>
            <a:ext cx="11117083" cy="52322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189654" y="6327573"/>
            <a:ext cx="464888" cy="2380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5"/>
                </a:solidFill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/>
          <p:cNvCxnSpPr>
            <a:cxnSpLocks/>
          </p:cNvCxnSpPr>
          <p:nvPr userDrawn="1"/>
        </p:nvCxnSpPr>
        <p:spPr>
          <a:xfrm>
            <a:off x="622300" y="6223334"/>
            <a:ext cx="109315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2819400" y="6323714"/>
            <a:ext cx="7193282" cy="245776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r>
              <a:rPr lang="en-US"/>
              <a:t>Restricted and Confidential © KPI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D543A4-DB23-4DCA-833E-17026CDF0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390" y="1377539"/>
            <a:ext cx="11139054" cy="4678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F716FE4-ACCB-44AB-A7B9-4C13936B52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10217150" y="6327577"/>
            <a:ext cx="866140" cy="2380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fld id="{EAEB9040-76D2-4919-A615-8E9848CCFD39}" type="datetime1">
              <a:rPr lang="en-US" smtClean="0"/>
              <a:t>10/17/2024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64D412-F064-400C-8012-40BEB9578E7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89" y="6346190"/>
            <a:ext cx="761937" cy="21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127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-2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537460" y="505937"/>
            <a:ext cx="11117083" cy="58464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189654" y="6327574"/>
            <a:ext cx="464888" cy="238059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622300" y="6223334"/>
            <a:ext cx="10931525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2819400" y="6323714"/>
            <a:ext cx="7193282" cy="245776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D543A4-DB23-4DCA-833E-17026CDF0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390" y="1377539"/>
            <a:ext cx="11139054" cy="4678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F716FE4-ACCB-44AB-A7B9-4C13936B52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10217150" y="6327578"/>
            <a:ext cx="866140" cy="2380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fld id="{98F34C0B-B045-479C-B506-3589EE88833C}" type="datetime1">
              <a:rPr lang="en-US" smtClean="0"/>
              <a:t>10/17/2024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64D412-F064-400C-8012-40BEB9578E7A}"/>
              </a:ext>
            </a:extLst>
          </p:cNvPr>
          <p:cNvPicPr>
            <a:picLocks noChangeAspect="1"/>
          </p:cNvPicPr>
          <p:nvPr/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0" y="6346190"/>
            <a:ext cx="761937" cy="21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102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5719" r:id="rId7"/>
    <p:sldLayoutId id="2147485720" r:id="rId8"/>
    <p:sldLayoutId id="2147485721" r:id="rId9"/>
    <p:sldLayoutId id="2147485722" r:id="rId10"/>
    <p:sldLayoutId id="2147485723" r:id="rId11"/>
    <p:sldLayoutId id="2147485724" r:id="rId12"/>
    <p:sldLayoutId id="2147485725" r:id="rId13"/>
    <p:sldLayoutId id="2147485726" r:id="rId14"/>
    <p:sldLayoutId id="2147485727" r:id="rId15"/>
    <p:sldLayoutId id="2147485728" r:id="rId16"/>
    <p:sldLayoutId id="2147485729" r:id="rId17"/>
    <p:sldLayoutId id="2147485730" r:id="rId18"/>
    <p:sldLayoutId id="2147485731" r:id="rId19"/>
    <p:sldLayoutId id="2147485732" r:id="rId20"/>
    <p:sldLayoutId id="2147485733" r:id="rId21"/>
    <p:sldLayoutId id="2147484019" r:id="rId22"/>
    <p:sldLayoutId id="2147484020" r:id="rId23"/>
    <p:sldLayoutId id="2147484021" r:id="rId24"/>
    <p:sldLayoutId id="2147484022" r:id="rId25"/>
    <p:sldLayoutId id="2147484023" r:id="rId26"/>
    <p:sldLayoutId id="2147484024" r:id="rId27"/>
    <p:sldLayoutId id="2147484025" r:id="rId28"/>
    <p:sldLayoutId id="2147484026" r:id="rId29"/>
    <p:sldLayoutId id="2147484027" r:id="rId30"/>
    <p:sldLayoutId id="2147484028" r:id="rId31"/>
    <p:sldLayoutId id="2147484029" r:id="rId32"/>
    <p:sldLayoutId id="2147484030" r:id="rId33"/>
    <p:sldLayoutId id="2147484031" r:id="rId34"/>
    <p:sldLayoutId id="2147484032" r:id="rId35"/>
    <p:sldLayoutId id="2147484033" r:id="rId36"/>
    <p:sldLayoutId id="2147484034" r:id="rId37"/>
    <p:sldLayoutId id="2147484035" r:id="rId38"/>
    <p:sldLayoutId id="2147484036" r:id="rId39"/>
    <p:sldLayoutId id="2147484037" r:id="rId40"/>
    <p:sldLayoutId id="2147484038" r:id="rId41"/>
    <p:sldLayoutId id="2147484039" r:id="rId42"/>
    <p:sldLayoutId id="2147484040" r:id="rId43"/>
    <p:sldLayoutId id="2147484041" r:id="rId44"/>
    <p:sldLayoutId id="2147484042" r:id="rId45"/>
    <p:sldLayoutId id="2147484043" r:id="rId46"/>
    <p:sldLayoutId id="2147484044" r:id="rId47"/>
    <p:sldLayoutId id="2147484045" r:id="rId48"/>
    <p:sldLayoutId id="2147484046" r:id="rId49"/>
    <p:sldLayoutId id="2147484047" r:id="rId50"/>
    <p:sldLayoutId id="2147484048" r:id="rId51"/>
    <p:sldLayoutId id="2147484049" r:id="rId52"/>
    <p:sldLayoutId id="2147484050" r:id="rId53"/>
    <p:sldLayoutId id="2147484051" r:id="rId54"/>
    <p:sldLayoutId id="2147484052" r:id="rId55"/>
    <p:sldLayoutId id="2147484053" r:id="rId56"/>
    <p:sldLayoutId id="2147484054" r:id="rId57"/>
    <p:sldLayoutId id="2147484055" r:id="rId58"/>
    <p:sldLayoutId id="2147484056" r:id="rId59"/>
    <p:sldLayoutId id="2147484057" r:id="rId60"/>
    <p:sldLayoutId id="2147484058" r:id="rId61"/>
    <p:sldLayoutId id="2147484059" r:id="rId62"/>
    <p:sldLayoutId id="2147484060" r:id="rId63"/>
    <p:sldLayoutId id="2147484061" r:id="rId64"/>
    <p:sldLayoutId id="2147484062" r:id="rId65"/>
    <p:sldLayoutId id="2147484063" r:id="rId66"/>
    <p:sldLayoutId id="2147484064" r:id="rId67"/>
    <p:sldLayoutId id="2147484065" r:id="rId68"/>
    <p:sldLayoutId id="2147484066" r:id="rId69"/>
    <p:sldLayoutId id="2147484067" r:id="rId70"/>
    <p:sldLayoutId id="2147484068" r:id="rId71"/>
    <p:sldLayoutId id="2147484069" r:id="rId72"/>
  </p:sldLayoutIdLst>
  <p:hf hdr="0" ftr="0"/>
  <p:txStyles>
    <p:titleStyle>
      <a:lvl1pPr algn="l" defTabSz="914172" rtl="0" eaLnBrk="1" latinLnBrk="0" hangingPunct="1">
        <a:lnSpc>
          <a:spcPct val="100000"/>
        </a:lnSpc>
        <a:spcBef>
          <a:spcPct val="0"/>
        </a:spcBef>
        <a:buNone/>
        <a:defRPr sz="3199" kern="1200" spc="-2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634" indent="-266634" algn="l" defTabSz="914172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738" indent="-184104" algn="l" defTabSz="914172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5" indent="-228543" algn="l" defTabSz="91417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2" indent="-228543" algn="l" defTabSz="914172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2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2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2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537459" y="505937"/>
            <a:ext cx="11117083" cy="600164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189654" y="6327573"/>
            <a:ext cx="464888" cy="2380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5"/>
                </a:solidFill>
                <a:latin typeface="Work Sans" panose="00000500000000000000" pitchFamily="2" charset="0"/>
              </a:defRPr>
            </a:lvl1pPr>
          </a:lstStyle>
          <a:p>
            <a:fld id="{4E6DB2D9-BBD8-435B-B34A-9B8472CE273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/>
          <p:cNvCxnSpPr>
            <a:cxnSpLocks/>
          </p:cNvCxnSpPr>
          <p:nvPr userDrawn="1"/>
        </p:nvCxnSpPr>
        <p:spPr>
          <a:xfrm>
            <a:off x="622300" y="6223334"/>
            <a:ext cx="109315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2819400" y="6323714"/>
            <a:ext cx="7193282" cy="245776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r>
              <a:rPr lang="en-US"/>
              <a:t>Restricted and Confidential © Work Sans 10 p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D543A4-DB23-4DCA-833E-17026CDF0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390" y="1377539"/>
            <a:ext cx="11139054" cy="4678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F716FE4-ACCB-44AB-A7B9-4C13936B52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10217150" y="6327577"/>
            <a:ext cx="866140" cy="2380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Work Sans" panose="00000500000000000000" pitchFamily="2" charset="0"/>
              </a:defRPr>
            </a:lvl1pPr>
          </a:lstStyle>
          <a:p>
            <a:fld id="{CF6C1642-C2FA-400D-A031-CC4997B8271F}" type="datetime1">
              <a:rPr lang="en-US" smtClean="0"/>
              <a:t>10/17/2024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64D412-F064-400C-8012-40BEB9578E7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89" y="6346190"/>
            <a:ext cx="761937" cy="21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271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9" r:id="rId1"/>
    <p:sldLayoutId id="2147484580" r:id="rId2"/>
    <p:sldLayoutId id="2147484581" r:id="rId3"/>
    <p:sldLayoutId id="2147484582" r:id="rId4"/>
    <p:sldLayoutId id="2147484583" r:id="rId5"/>
    <p:sldLayoutId id="2147484584" r:id="rId6"/>
    <p:sldLayoutId id="2147484585" r:id="rId7"/>
    <p:sldLayoutId id="2147484586" r:id="rId8"/>
    <p:sldLayoutId id="2147484587" r:id="rId9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spc="-2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lnSpc>
          <a:spcPct val="117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Work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>
            <a:extLst>
              <a:ext uri="{FF2B5EF4-FFF2-40B4-BE49-F238E27FC236}">
                <a16:creationId xmlns:a16="http://schemas.microsoft.com/office/drawing/2014/main" id="{8D5DDE23-8E02-4EBD-A7CB-1FECAAD44C54}"/>
              </a:ext>
            </a:extLst>
          </p:cNvPr>
          <p:cNvSpPr txBox="1"/>
          <p:nvPr/>
        </p:nvSpPr>
        <p:spPr>
          <a:xfrm>
            <a:off x="436918" y="2117069"/>
            <a:ext cx="9005662" cy="221599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effectLst>
                  <a:outerShdw blurRad="76200" dist="76200" dir="2700000" algn="tl" rotWithShape="0">
                    <a:prstClr val="black">
                      <a:alpha val="60000"/>
                    </a:prstClr>
                  </a:outerShdw>
                </a:effectLst>
                <a:latin typeface="+mj-lt"/>
              </a:rPr>
              <a:t>Robot framework-based feature validation</a:t>
            </a:r>
          </a:p>
          <a:p>
            <a:endParaRPr lang="en-US" sz="2800" dirty="0">
              <a:solidFill>
                <a:schemeClr val="bg1"/>
              </a:solidFill>
              <a:effectLst>
                <a:outerShdw blurRad="76200" dist="76200" dir="2700000" algn="tl" rotWithShape="0">
                  <a:prstClr val="black">
                    <a:alpha val="60000"/>
                  </a:prstClr>
                </a:outerShdw>
              </a:effectLst>
              <a:latin typeface="+mj-lt"/>
            </a:endParaRPr>
          </a:p>
          <a:p>
            <a:r>
              <a:rPr lang="en-US" dirty="0">
                <a:solidFill>
                  <a:schemeClr val="bg1"/>
                </a:solidFill>
                <a:effectLst>
                  <a:outerShdw blurRad="76200" dist="76200" dir="2700000" algn="tl" rotWithShape="0">
                    <a:prstClr val="black">
                      <a:alpha val="60000"/>
                    </a:prstClr>
                  </a:outerShdw>
                </a:effectLst>
                <a:latin typeface="+mj-lt"/>
              </a:rPr>
              <a:t>A software unit validation (SWE.4) framework</a:t>
            </a:r>
          </a:p>
          <a:p>
            <a:endParaRPr lang="en-US" sz="2800" dirty="0">
              <a:solidFill>
                <a:schemeClr val="bg1"/>
              </a:solidFill>
              <a:effectLst>
                <a:outerShdw blurRad="76200" dist="76200" dir="2700000" algn="tl" rotWithShape="0">
                  <a:prstClr val="black">
                    <a:alpha val="60000"/>
                  </a:prstClr>
                </a:outerShdw>
              </a:effectLst>
              <a:latin typeface="+mj-lt"/>
            </a:endParaRPr>
          </a:p>
          <a:p>
            <a:endParaRPr lang="en-US" sz="3200" dirty="0">
              <a:solidFill>
                <a:schemeClr val="bg1"/>
              </a:solidFill>
              <a:effectLst>
                <a:outerShdw blurRad="76200" dist="76200" dir="2700000" algn="tl" rotWithShape="0">
                  <a:prstClr val="black">
                    <a:alpha val="60000"/>
                  </a:prst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6361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A5ACAB5-ED67-99FC-B548-373BFB3A3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>
            <a:extLst>
              <a:ext uri="{FF2B5EF4-FFF2-40B4-BE49-F238E27FC236}">
                <a16:creationId xmlns:a16="http://schemas.microsoft.com/office/drawing/2014/main" id="{7BE9621D-F309-C5DA-4D87-99051A73B540}"/>
              </a:ext>
            </a:extLst>
          </p:cNvPr>
          <p:cNvSpPr txBox="1"/>
          <p:nvPr/>
        </p:nvSpPr>
        <p:spPr>
          <a:xfrm>
            <a:off x="1593169" y="3136612"/>
            <a:ext cx="9005662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effectLst>
                  <a:outerShdw blurRad="76200" dist="76200" dir="2700000" algn="tl" rotWithShape="0">
                    <a:prstClr val="black">
                      <a:alpha val="60000"/>
                    </a:prstClr>
                  </a:outerShdw>
                </a:effectLst>
                <a:latin typeface="+mj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3212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5A5D76-B5C4-C1A0-1EA9-73F0EAA09CF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28450" y="6327775"/>
            <a:ext cx="463550" cy="238125"/>
          </a:xfrm>
        </p:spPr>
        <p:txBody>
          <a:bodyPr/>
          <a:lstStyle/>
          <a:p>
            <a:fld id="{4E6DB2D9-BBD8-435B-B34A-9B8472CE273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E22F00-3189-4161-3D56-302502DDBC79}"/>
              </a:ext>
            </a:extLst>
          </p:cNvPr>
          <p:cNvSpPr txBox="1"/>
          <p:nvPr/>
        </p:nvSpPr>
        <p:spPr>
          <a:xfrm>
            <a:off x="220135" y="330050"/>
            <a:ext cx="11751731" cy="36933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Challeng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D376C29-AEB4-B55F-7CAE-F58FA53C0FCC}"/>
              </a:ext>
            </a:extLst>
          </p:cNvPr>
          <p:cNvSpPr txBox="1"/>
          <p:nvPr/>
        </p:nvSpPr>
        <p:spPr>
          <a:xfrm>
            <a:off x="220133" y="756807"/>
            <a:ext cx="11751733" cy="2123658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Context: Different platforms used at ADAS feature level for development. (model/code based)</a:t>
            </a:r>
          </a:p>
          <a:p>
            <a:endParaRPr lang="en-US" sz="1200" dirty="0"/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US" sz="1200" dirty="0">
                <a:cs typeface="Calibri"/>
              </a:rPr>
              <a:t>Lack of uniform unit validation approach across features that are developed in different platforms.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Calibri"/>
              </a:rPr>
              <a:t>Separate unit validation approaches are created/maintained (for example m-script based utility for MBD based features).</a:t>
            </a:r>
            <a:endParaRPr lang="en-US" sz="1200" dirty="0"/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Calibri"/>
              </a:rPr>
              <a:t>Licensing needs based on software used.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>
                <a:ea typeface="+mn-lt"/>
                <a:cs typeface="+mn-lt"/>
              </a:rPr>
              <a:t>Consideration for integration into project wide tools for development and validation.</a:t>
            </a:r>
          </a:p>
          <a:p>
            <a:pPr marL="1543050" lvl="3" indent="-171450">
              <a:buFont typeface="Arial" panose="020B0604020202020204" pitchFamily="34" charset="0"/>
              <a:buChar char="•"/>
            </a:pPr>
            <a:r>
              <a:rPr lang="en-US" sz="1200" dirty="0"/>
              <a:t>If existing support for development and validation tools across project, are yet to integrate model-based feature into common unit validation processes because those approaches are code based and find only similar modules easier to integrate first.</a:t>
            </a:r>
            <a:endParaRPr lang="en-US" sz="1200" dirty="0">
              <a:cs typeface="Calibri" panose="020F0502020204030204"/>
            </a:endParaRPr>
          </a:p>
          <a:p>
            <a:pPr marL="1543050" lvl="3" indent="-171450">
              <a:buFont typeface="Arial" panose="020B0604020202020204" pitchFamily="34" charset="0"/>
              <a:buChar char="•"/>
            </a:pPr>
            <a:r>
              <a:rPr lang="en-US" sz="1200" dirty="0"/>
              <a:t>Parallel approaches in project may be operating at system integration level and hence, may involve considerable timelines for including features for unit level validation.</a:t>
            </a:r>
            <a:endParaRPr lang="en-US" sz="1200" dirty="0">
              <a:cs typeface="Calibri"/>
            </a:endParaRPr>
          </a:p>
          <a:p>
            <a:endParaRPr lang="en-US" sz="1200" dirty="0">
              <a:cs typeface="Calibri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6D757BA-B3EC-6E5D-6AA4-FAF9A50A0032}"/>
              </a:ext>
            </a:extLst>
          </p:cNvPr>
          <p:cNvSpPr/>
          <p:nvPr/>
        </p:nvSpPr>
        <p:spPr>
          <a:xfrm>
            <a:off x="2791358" y="3475475"/>
            <a:ext cx="994299" cy="621437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105000"/>
                  <a:satMod val="103000"/>
                  <a:tint val="73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/>
              <a:t>AEB</a:t>
            </a:r>
            <a:endParaRPr lang="en-US"/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559FFAF-33BE-EDDD-0DAE-DBA59AA40B78}"/>
              </a:ext>
            </a:extLst>
          </p:cNvPr>
          <p:cNvSpPr/>
          <p:nvPr/>
        </p:nvSpPr>
        <p:spPr>
          <a:xfrm>
            <a:off x="4132920" y="3475475"/>
            <a:ext cx="1083613" cy="621437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105000"/>
                  <a:satMod val="103000"/>
                  <a:tint val="73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dirty="0"/>
              <a:t>Lane Support</a:t>
            </a:r>
            <a:endParaRPr lang="en-US" sz="1600" dirty="0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DE366A26-670F-A0BA-1F3D-9509D21400F7}"/>
              </a:ext>
            </a:extLst>
          </p:cNvPr>
          <p:cNvSpPr/>
          <p:nvPr/>
        </p:nvSpPr>
        <p:spPr>
          <a:xfrm>
            <a:off x="5543435" y="3468517"/>
            <a:ext cx="1358283" cy="621437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105000"/>
                  <a:satMod val="103000"/>
                  <a:tint val="73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dirty="0"/>
              <a:t>Contextual</a:t>
            </a:r>
          </a:p>
          <a:p>
            <a:pPr algn="ctr"/>
            <a:r>
              <a:rPr lang="en-IN" sz="1600" dirty="0"/>
              <a:t>ACC</a:t>
            </a:r>
            <a:endParaRPr lang="en-US" sz="1600" dirty="0"/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EA609E2-87D8-C0CF-D872-56B57525FCBC}"/>
              </a:ext>
            </a:extLst>
          </p:cNvPr>
          <p:cNvCxnSpPr>
            <a:cxnSpLocks/>
          </p:cNvCxnSpPr>
          <p:nvPr/>
        </p:nvCxnSpPr>
        <p:spPr>
          <a:xfrm>
            <a:off x="1233994" y="4210706"/>
            <a:ext cx="89813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016EDCC-0DBD-9B9C-2B2D-7ADAEAF21D7E}"/>
              </a:ext>
            </a:extLst>
          </p:cNvPr>
          <p:cNvSpPr/>
          <p:nvPr/>
        </p:nvSpPr>
        <p:spPr>
          <a:xfrm>
            <a:off x="3852966" y="4571820"/>
            <a:ext cx="1643522" cy="50602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roach B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A237F6C0-3C53-7F32-D082-06F057A9ACDA}"/>
              </a:ext>
            </a:extLst>
          </p:cNvPr>
          <p:cNvSpPr/>
          <p:nvPr/>
        </p:nvSpPr>
        <p:spPr>
          <a:xfrm>
            <a:off x="2103686" y="4566064"/>
            <a:ext cx="1643522" cy="50602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roach 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399CAEF-85D8-8D04-86DE-B4BEB51B2890}"/>
              </a:ext>
            </a:extLst>
          </p:cNvPr>
          <p:cNvSpPr/>
          <p:nvPr/>
        </p:nvSpPr>
        <p:spPr>
          <a:xfrm>
            <a:off x="5599987" y="4571819"/>
            <a:ext cx="1643522" cy="50602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roach C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B6971658-26F8-F500-8938-24E2895AC502}"/>
              </a:ext>
            </a:extLst>
          </p:cNvPr>
          <p:cNvCxnSpPr>
            <a:stCxn id="31" idx="2"/>
            <a:endCxn id="37" idx="0"/>
          </p:cNvCxnSpPr>
          <p:nvPr/>
        </p:nvCxnSpPr>
        <p:spPr>
          <a:xfrm rot="5400000">
            <a:off x="2872402" y="4149958"/>
            <a:ext cx="469152" cy="36306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502F0467-0785-7DB2-174E-3BA0CE63E7C9}"/>
              </a:ext>
            </a:extLst>
          </p:cNvPr>
          <p:cNvCxnSpPr>
            <a:cxnSpLocks/>
            <a:stCxn id="34" idx="2"/>
          </p:cNvCxnSpPr>
          <p:nvPr/>
        </p:nvCxnSpPr>
        <p:spPr>
          <a:xfrm rot="16200000" flipH="1">
            <a:off x="6093449" y="4219082"/>
            <a:ext cx="458004" cy="19974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: Single Corner Snipped 41">
            <a:extLst>
              <a:ext uri="{FF2B5EF4-FFF2-40B4-BE49-F238E27FC236}">
                <a16:creationId xmlns:a16="http://schemas.microsoft.com/office/drawing/2014/main" id="{300105C5-952F-BBF5-EACC-F2AA4A82BE7C}"/>
              </a:ext>
            </a:extLst>
          </p:cNvPr>
          <p:cNvSpPr/>
          <p:nvPr/>
        </p:nvSpPr>
        <p:spPr>
          <a:xfrm>
            <a:off x="8052043" y="4547957"/>
            <a:ext cx="2087831" cy="50602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Unit valida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Rectangle: Single Corner Snipped 42">
            <a:extLst>
              <a:ext uri="{FF2B5EF4-FFF2-40B4-BE49-F238E27FC236}">
                <a16:creationId xmlns:a16="http://schemas.microsoft.com/office/drawing/2014/main" id="{1F54B782-771C-6159-4793-4BF3CB153B9F}"/>
              </a:ext>
            </a:extLst>
          </p:cNvPr>
          <p:cNvSpPr/>
          <p:nvPr/>
        </p:nvSpPr>
        <p:spPr>
          <a:xfrm>
            <a:off x="8044015" y="3358278"/>
            <a:ext cx="2095865" cy="50602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lica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4" name="Rectangle: Single Corner Snipped 43">
            <a:extLst>
              <a:ext uri="{FF2B5EF4-FFF2-40B4-BE49-F238E27FC236}">
                <a16:creationId xmlns:a16="http://schemas.microsoft.com/office/drawing/2014/main" id="{D9044A01-2717-F297-50D8-866641BAE9BB}"/>
              </a:ext>
            </a:extLst>
          </p:cNvPr>
          <p:cNvSpPr/>
          <p:nvPr/>
        </p:nvSpPr>
        <p:spPr>
          <a:xfrm>
            <a:off x="8045594" y="3817111"/>
            <a:ext cx="1910395" cy="29119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900" dirty="0">
                <a:solidFill>
                  <a:schemeClr val="tx1"/>
                </a:solidFill>
              </a:rPr>
              <a:t>MATLAB/Simulink, RUST, C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5" name="Rectangle: Single Corner Snipped 44">
            <a:extLst>
              <a:ext uri="{FF2B5EF4-FFF2-40B4-BE49-F238E27FC236}">
                <a16:creationId xmlns:a16="http://schemas.microsoft.com/office/drawing/2014/main" id="{B5370CB5-2351-D441-75C7-EE203048B72F}"/>
              </a:ext>
            </a:extLst>
          </p:cNvPr>
          <p:cNvSpPr/>
          <p:nvPr/>
        </p:nvSpPr>
        <p:spPr>
          <a:xfrm>
            <a:off x="8044015" y="4993985"/>
            <a:ext cx="1911974" cy="29119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900" dirty="0">
                <a:solidFill>
                  <a:schemeClr val="tx1"/>
                </a:solidFill>
              </a:rPr>
              <a:t>M-Script based utilities, RUST unit test, </a:t>
            </a:r>
            <a:r>
              <a:rPr lang="en-IN" sz="900" dirty="0" err="1">
                <a:solidFill>
                  <a:schemeClr val="tx1"/>
                </a:solidFill>
              </a:rPr>
              <a:t>gTest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334DBF11-FA5E-120F-5B53-D1F6486E580E}"/>
              </a:ext>
            </a:extLst>
          </p:cNvPr>
          <p:cNvCxnSpPr>
            <a:cxnSpLocks/>
            <a:stCxn id="33" idx="2"/>
            <a:endCxn id="36" idx="0"/>
          </p:cNvCxnSpPr>
          <p:nvPr/>
        </p:nvCxnSpPr>
        <p:spPr>
          <a:xfrm>
            <a:off x="4674727" y="4096912"/>
            <a:ext cx="0" cy="4749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390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5A5D76-B5C4-C1A0-1EA9-73F0EAA09CF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28450" y="6327775"/>
            <a:ext cx="463550" cy="238125"/>
          </a:xfrm>
        </p:spPr>
        <p:txBody>
          <a:bodyPr/>
          <a:lstStyle/>
          <a:p>
            <a:fld id="{4E6DB2D9-BBD8-435B-B34A-9B8472CE273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E22F00-3189-4161-3D56-302502DDBC79}"/>
              </a:ext>
            </a:extLst>
          </p:cNvPr>
          <p:cNvSpPr txBox="1"/>
          <p:nvPr/>
        </p:nvSpPr>
        <p:spPr>
          <a:xfrm>
            <a:off x="220135" y="330050"/>
            <a:ext cx="11751731" cy="36933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Challeng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D376C29-AEB4-B55F-7CAE-F58FA53C0FCC}"/>
              </a:ext>
            </a:extLst>
          </p:cNvPr>
          <p:cNvSpPr txBox="1"/>
          <p:nvPr/>
        </p:nvSpPr>
        <p:spPr>
          <a:xfrm>
            <a:off x="220133" y="756807"/>
            <a:ext cx="11751733" cy="141577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Context: Different platforms used at ADAS feature level for development. (model/code-based)</a:t>
            </a:r>
            <a:br>
              <a:rPr lang="en-US" sz="1200" dirty="0"/>
            </a:br>
            <a:endParaRPr lang="en-US" sz="1200" dirty="0">
              <a:cs typeface="Calibri"/>
            </a:endParaRPr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US" sz="1200" dirty="0">
                <a:cs typeface="Calibri"/>
              </a:rPr>
              <a:t>Duration of unit validation run, based on approach, varies.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Calibri"/>
              </a:rPr>
              <a:t>Existing unitary validation for model-based features are time consuming. </a:t>
            </a:r>
            <a:br>
              <a:rPr lang="en-US" sz="1200" dirty="0">
                <a:cs typeface="Calibri"/>
              </a:rPr>
            </a:br>
            <a:r>
              <a:rPr lang="en-US" sz="1200" dirty="0">
                <a:cs typeface="Calibri"/>
              </a:rPr>
              <a:t>(Depending on mapped requirements, sub module can clock several minutes for complete validation run for mbd based unit validation.) 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With multiple incoming model updates based on tags/release (interface or requirement updates), the above process can rerun to consume appreciable length of time through the sprints.</a:t>
            </a:r>
            <a:endParaRPr lang="en-US" sz="1200" dirty="0">
              <a:cs typeface="Calibri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6D757BA-B3EC-6E5D-6AA4-FAF9A50A0032}"/>
              </a:ext>
            </a:extLst>
          </p:cNvPr>
          <p:cNvSpPr/>
          <p:nvPr/>
        </p:nvSpPr>
        <p:spPr>
          <a:xfrm>
            <a:off x="2791358" y="3475475"/>
            <a:ext cx="994299" cy="621437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105000"/>
                  <a:satMod val="103000"/>
                  <a:tint val="73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/>
              <a:t>AEB</a:t>
            </a:r>
            <a:endParaRPr lang="en-US"/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559FFAF-33BE-EDDD-0DAE-DBA59AA40B78}"/>
              </a:ext>
            </a:extLst>
          </p:cNvPr>
          <p:cNvSpPr/>
          <p:nvPr/>
        </p:nvSpPr>
        <p:spPr>
          <a:xfrm>
            <a:off x="4132920" y="3475475"/>
            <a:ext cx="1083613" cy="621437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105000"/>
                  <a:satMod val="103000"/>
                  <a:tint val="73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dirty="0"/>
              <a:t>Lane Support</a:t>
            </a:r>
            <a:endParaRPr lang="en-US" sz="1600" dirty="0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DE366A26-670F-A0BA-1F3D-9509D21400F7}"/>
              </a:ext>
            </a:extLst>
          </p:cNvPr>
          <p:cNvSpPr/>
          <p:nvPr/>
        </p:nvSpPr>
        <p:spPr>
          <a:xfrm>
            <a:off x="5543435" y="3468517"/>
            <a:ext cx="1358283" cy="621437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105000"/>
                  <a:satMod val="103000"/>
                  <a:tint val="73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dirty="0"/>
              <a:t>Contextual</a:t>
            </a:r>
          </a:p>
          <a:p>
            <a:pPr algn="ctr"/>
            <a:r>
              <a:rPr lang="en-IN" sz="1600" dirty="0"/>
              <a:t>ACC</a:t>
            </a:r>
            <a:endParaRPr lang="en-US" sz="1600" dirty="0"/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EA609E2-87D8-C0CF-D872-56B57525FCBC}"/>
              </a:ext>
            </a:extLst>
          </p:cNvPr>
          <p:cNvCxnSpPr>
            <a:cxnSpLocks/>
          </p:cNvCxnSpPr>
          <p:nvPr/>
        </p:nvCxnSpPr>
        <p:spPr>
          <a:xfrm>
            <a:off x="1233994" y="4210706"/>
            <a:ext cx="89813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016EDCC-0DBD-9B9C-2B2D-7ADAEAF21D7E}"/>
              </a:ext>
            </a:extLst>
          </p:cNvPr>
          <p:cNvSpPr/>
          <p:nvPr/>
        </p:nvSpPr>
        <p:spPr>
          <a:xfrm>
            <a:off x="3852966" y="4571820"/>
            <a:ext cx="1643522" cy="50602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roach B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A237F6C0-3C53-7F32-D082-06F057A9ACDA}"/>
              </a:ext>
            </a:extLst>
          </p:cNvPr>
          <p:cNvSpPr/>
          <p:nvPr/>
        </p:nvSpPr>
        <p:spPr>
          <a:xfrm>
            <a:off x="2103686" y="4566064"/>
            <a:ext cx="1643522" cy="50602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roach 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399CAEF-85D8-8D04-86DE-B4BEB51B2890}"/>
              </a:ext>
            </a:extLst>
          </p:cNvPr>
          <p:cNvSpPr/>
          <p:nvPr/>
        </p:nvSpPr>
        <p:spPr>
          <a:xfrm>
            <a:off x="5599987" y="4571819"/>
            <a:ext cx="1643522" cy="50602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roach C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B6971658-26F8-F500-8938-24E2895AC502}"/>
              </a:ext>
            </a:extLst>
          </p:cNvPr>
          <p:cNvCxnSpPr>
            <a:stCxn id="31" idx="2"/>
            <a:endCxn id="37" idx="0"/>
          </p:cNvCxnSpPr>
          <p:nvPr/>
        </p:nvCxnSpPr>
        <p:spPr>
          <a:xfrm rot="5400000">
            <a:off x="2872402" y="4149958"/>
            <a:ext cx="469152" cy="36306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502F0467-0785-7DB2-174E-3BA0CE63E7C9}"/>
              </a:ext>
            </a:extLst>
          </p:cNvPr>
          <p:cNvCxnSpPr>
            <a:cxnSpLocks/>
            <a:stCxn id="34" idx="2"/>
          </p:cNvCxnSpPr>
          <p:nvPr/>
        </p:nvCxnSpPr>
        <p:spPr>
          <a:xfrm rot="16200000" flipH="1">
            <a:off x="6093449" y="4219082"/>
            <a:ext cx="458004" cy="19974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: Single Corner Snipped 41">
            <a:extLst>
              <a:ext uri="{FF2B5EF4-FFF2-40B4-BE49-F238E27FC236}">
                <a16:creationId xmlns:a16="http://schemas.microsoft.com/office/drawing/2014/main" id="{300105C5-952F-BBF5-EACC-F2AA4A82BE7C}"/>
              </a:ext>
            </a:extLst>
          </p:cNvPr>
          <p:cNvSpPr/>
          <p:nvPr/>
        </p:nvSpPr>
        <p:spPr>
          <a:xfrm>
            <a:off x="8052043" y="4547957"/>
            <a:ext cx="2087831" cy="50602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Unit valida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Rectangle: Single Corner Snipped 42">
            <a:extLst>
              <a:ext uri="{FF2B5EF4-FFF2-40B4-BE49-F238E27FC236}">
                <a16:creationId xmlns:a16="http://schemas.microsoft.com/office/drawing/2014/main" id="{1F54B782-771C-6159-4793-4BF3CB153B9F}"/>
              </a:ext>
            </a:extLst>
          </p:cNvPr>
          <p:cNvSpPr/>
          <p:nvPr/>
        </p:nvSpPr>
        <p:spPr>
          <a:xfrm>
            <a:off x="8044015" y="3358278"/>
            <a:ext cx="2095865" cy="50602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lica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4" name="Rectangle: Single Corner Snipped 43">
            <a:extLst>
              <a:ext uri="{FF2B5EF4-FFF2-40B4-BE49-F238E27FC236}">
                <a16:creationId xmlns:a16="http://schemas.microsoft.com/office/drawing/2014/main" id="{D9044A01-2717-F297-50D8-866641BAE9BB}"/>
              </a:ext>
            </a:extLst>
          </p:cNvPr>
          <p:cNvSpPr/>
          <p:nvPr/>
        </p:nvSpPr>
        <p:spPr>
          <a:xfrm>
            <a:off x="8045594" y="3817111"/>
            <a:ext cx="1910395" cy="29119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900" dirty="0">
                <a:solidFill>
                  <a:schemeClr val="tx1"/>
                </a:solidFill>
              </a:rPr>
              <a:t>MATLAB/Simulink, RUST, C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5" name="Rectangle: Single Corner Snipped 44">
            <a:extLst>
              <a:ext uri="{FF2B5EF4-FFF2-40B4-BE49-F238E27FC236}">
                <a16:creationId xmlns:a16="http://schemas.microsoft.com/office/drawing/2014/main" id="{B5370CB5-2351-D441-75C7-EE203048B72F}"/>
              </a:ext>
            </a:extLst>
          </p:cNvPr>
          <p:cNvSpPr/>
          <p:nvPr/>
        </p:nvSpPr>
        <p:spPr>
          <a:xfrm>
            <a:off x="8044015" y="4993985"/>
            <a:ext cx="1911974" cy="29119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900" dirty="0">
                <a:solidFill>
                  <a:schemeClr val="tx1"/>
                </a:solidFill>
              </a:rPr>
              <a:t>M-Script based utilities, RUST unit test, </a:t>
            </a:r>
            <a:r>
              <a:rPr lang="en-IN" sz="900" dirty="0" err="1">
                <a:solidFill>
                  <a:schemeClr val="tx1"/>
                </a:solidFill>
              </a:rPr>
              <a:t>gTest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334DBF11-FA5E-120F-5B53-D1F6486E580E}"/>
              </a:ext>
            </a:extLst>
          </p:cNvPr>
          <p:cNvCxnSpPr>
            <a:cxnSpLocks/>
            <a:stCxn id="33" idx="2"/>
            <a:endCxn id="36" idx="0"/>
          </p:cNvCxnSpPr>
          <p:nvPr/>
        </p:nvCxnSpPr>
        <p:spPr>
          <a:xfrm>
            <a:off x="4674727" y="4096912"/>
            <a:ext cx="0" cy="4749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21488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5A5D76-B5C4-C1A0-1EA9-73F0EAA09CF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28450" y="6327775"/>
            <a:ext cx="463550" cy="238125"/>
          </a:xfrm>
        </p:spPr>
        <p:txBody>
          <a:bodyPr/>
          <a:lstStyle/>
          <a:p>
            <a:fld id="{4E6DB2D9-BBD8-435B-B34A-9B8472CE273E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84DB4F-7300-877D-58AE-FB7D3B6BF9E0}"/>
              </a:ext>
            </a:extLst>
          </p:cNvPr>
          <p:cNvSpPr txBox="1"/>
          <p:nvPr/>
        </p:nvSpPr>
        <p:spPr>
          <a:xfrm>
            <a:off x="190616" y="253491"/>
            <a:ext cx="11680133" cy="36933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Impac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10D877-719B-C599-F0A7-B71EB62175C7}"/>
              </a:ext>
            </a:extLst>
          </p:cNvPr>
          <p:cNvSpPr txBox="1"/>
          <p:nvPr/>
        </p:nvSpPr>
        <p:spPr>
          <a:xfrm>
            <a:off x="190616" y="699025"/>
            <a:ext cx="11680133" cy="167712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spcBef>
                <a:spcPts val="600"/>
              </a:spcBef>
              <a:defRPr sz="14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1200" dirty="0"/>
              <a:t>Lack of uniform unit validation approach across features that are developed in different platforms has following impact on the project.</a:t>
            </a:r>
          </a:p>
          <a:p>
            <a:pPr marL="285750" indent="-285750">
              <a:buFontTx/>
              <a:buChar char="-"/>
            </a:pPr>
            <a:r>
              <a:rPr lang="en-US" sz="1200" dirty="0">
                <a:cs typeface="Calibri"/>
              </a:rPr>
              <a:t>Unit validation approaches must be maintained based on platform on which feature is developed, (for example m-script based utility for MBD based features) </a:t>
            </a:r>
            <a:r>
              <a:rPr lang="en-US" sz="1200">
                <a:cs typeface="Calibri"/>
              </a:rPr>
              <a:t>which may also create </a:t>
            </a:r>
            <a:r>
              <a:rPr lang="en-US" sz="1200" dirty="0">
                <a:cs typeface="Calibri"/>
              </a:rPr>
              <a:t>additional platform-based dependencies like licenses.</a:t>
            </a:r>
          </a:p>
          <a:p>
            <a:pPr marL="285750" indent="-285750">
              <a:buFontTx/>
              <a:buChar char="-"/>
            </a:pPr>
            <a:r>
              <a:rPr lang="en-US" sz="1200" dirty="0">
                <a:cs typeface="Calibri"/>
              </a:rPr>
              <a:t>Above approach causes delay in consideration for project wide tools for development and testing support, leading to rework.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Duration of unit validation run, based on approach, considerably varies for a given features, consuming appreciable time.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BB01D24-AF61-E5DF-305C-0C75DCC727BB}"/>
              </a:ext>
            </a:extLst>
          </p:cNvPr>
          <p:cNvSpPr/>
          <p:nvPr/>
        </p:nvSpPr>
        <p:spPr>
          <a:xfrm>
            <a:off x="2791358" y="3475475"/>
            <a:ext cx="994299" cy="621437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105000"/>
                  <a:satMod val="103000"/>
                  <a:tint val="73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/>
              <a:t>AEB</a:t>
            </a:r>
            <a:endParaRPr lang="en-US"/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CD88358D-5440-B403-0AA6-BA0D5B041973}"/>
              </a:ext>
            </a:extLst>
          </p:cNvPr>
          <p:cNvSpPr/>
          <p:nvPr/>
        </p:nvSpPr>
        <p:spPr>
          <a:xfrm>
            <a:off x="4132920" y="3475475"/>
            <a:ext cx="1083613" cy="621437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105000"/>
                  <a:satMod val="103000"/>
                  <a:tint val="73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dirty="0"/>
              <a:t>Lane Support</a:t>
            </a:r>
            <a:endParaRPr lang="en-US" sz="1600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FCAA81E2-2BE1-A406-613F-AFEB59C3850D}"/>
              </a:ext>
            </a:extLst>
          </p:cNvPr>
          <p:cNvSpPr/>
          <p:nvPr/>
        </p:nvSpPr>
        <p:spPr>
          <a:xfrm>
            <a:off x="5543435" y="3468517"/>
            <a:ext cx="1358283" cy="621437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105000"/>
                  <a:satMod val="103000"/>
                  <a:tint val="73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dirty="0"/>
              <a:t>Contextual</a:t>
            </a:r>
          </a:p>
          <a:p>
            <a:pPr algn="ctr"/>
            <a:r>
              <a:rPr lang="en-IN" sz="1600" dirty="0"/>
              <a:t>ACC</a:t>
            </a:r>
            <a:endParaRPr lang="en-US" sz="1600" dirty="0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09A150D-F137-68B3-4B03-3C0336E1D902}"/>
              </a:ext>
            </a:extLst>
          </p:cNvPr>
          <p:cNvCxnSpPr>
            <a:cxnSpLocks/>
          </p:cNvCxnSpPr>
          <p:nvPr/>
        </p:nvCxnSpPr>
        <p:spPr>
          <a:xfrm>
            <a:off x="1233994" y="4210706"/>
            <a:ext cx="89813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F9A93C2-382F-1813-8EAE-5CFD8C78382D}"/>
              </a:ext>
            </a:extLst>
          </p:cNvPr>
          <p:cNvSpPr/>
          <p:nvPr/>
        </p:nvSpPr>
        <p:spPr>
          <a:xfrm>
            <a:off x="3852966" y="4571820"/>
            <a:ext cx="1643522" cy="50602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roach B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ECDDC20E-5B6B-3F7A-0032-C4513C09129F}"/>
              </a:ext>
            </a:extLst>
          </p:cNvPr>
          <p:cNvSpPr/>
          <p:nvPr/>
        </p:nvSpPr>
        <p:spPr>
          <a:xfrm>
            <a:off x="2103686" y="4566064"/>
            <a:ext cx="1643522" cy="50602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roach 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6E5FCC6-6CDF-908A-CFA6-E0E81BDDB39A}"/>
              </a:ext>
            </a:extLst>
          </p:cNvPr>
          <p:cNvSpPr/>
          <p:nvPr/>
        </p:nvSpPr>
        <p:spPr>
          <a:xfrm>
            <a:off x="5599987" y="4571819"/>
            <a:ext cx="1643522" cy="50602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roach C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F30FD5C9-1842-4A12-0B2B-82F37766AE22}"/>
              </a:ext>
            </a:extLst>
          </p:cNvPr>
          <p:cNvCxnSpPr>
            <a:stCxn id="34" idx="2"/>
            <a:endCxn id="39" idx="0"/>
          </p:cNvCxnSpPr>
          <p:nvPr/>
        </p:nvCxnSpPr>
        <p:spPr>
          <a:xfrm rot="5400000">
            <a:off x="2872402" y="4149958"/>
            <a:ext cx="469152" cy="36306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3558991C-1771-1B9F-703E-830E8EEE89C1}"/>
              </a:ext>
            </a:extLst>
          </p:cNvPr>
          <p:cNvCxnSpPr>
            <a:cxnSpLocks/>
            <a:stCxn id="36" idx="2"/>
          </p:cNvCxnSpPr>
          <p:nvPr/>
        </p:nvCxnSpPr>
        <p:spPr>
          <a:xfrm rot="16200000" flipH="1">
            <a:off x="6093449" y="4219082"/>
            <a:ext cx="458004" cy="19974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: Single Corner Snipped 42">
            <a:extLst>
              <a:ext uri="{FF2B5EF4-FFF2-40B4-BE49-F238E27FC236}">
                <a16:creationId xmlns:a16="http://schemas.microsoft.com/office/drawing/2014/main" id="{D9CF5EB6-3946-7B44-C950-F775944A0E93}"/>
              </a:ext>
            </a:extLst>
          </p:cNvPr>
          <p:cNvSpPr/>
          <p:nvPr/>
        </p:nvSpPr>
        <p:spPr>
          <a:xfrm>
            <a:off x="8052043" y="4547957"/>
            <a:ext cx="2087831" cy="50602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Unit valida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4" name="Rectangle: Single Corner Snipped 43">
            <a:extLst>
              <a:ext uri="{FF2B5EF4-FFF2-40B4-BE49-F238E27FC236}">
                <a16:creationId xmlns:a16="http://schemas.microsoft.com/office/drawing/2014/main" id="{045CAAFD-A697-0361-8619-3413C1207507}"/>
              </a:ext>
            </a:extLst>
          </p:cNvPr>
          <p:cNvSpPr/>
          <p:nvPr/>
        </p:nvSpPr>
        <p:spPr>
          <a:xfrm>
            <a:off x="8044015" y="3358278"/>
            <a:ext cx="2095865" cy="50602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lica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Rectangle: Single Corner Snipped 44">
            <a:extLst>
              <a:ext uri="{FF2B5EF4-FFF2-40B4-BE49-F238E27FC236}">
                <a16:creationId xmlns:a16="http://schemas.microsoft.com/office/drawing/2014/main" id="{BEDD4600-D996-A988-8528-B728B431A540}"/>
              </a:ext>
            </a:extLst>
          </p:cNvPr>
          <p:cNvSpPr/>
          <p:nvPr/>
        </p:nvSpPr>
        <p:spPr>
          <a:xfrm>
            <a:off x="8045594" y="3817111"/>
            <a:ext cx="1910395" cy="29119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900" dirty="0">
                <a:solidFill>
                  <a:schemeClr val="tx1"/>
                </a:solidFill>
              </a:rPr>
              <a:t>MATLAB/Simulink, RUST, C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6" name="Rectangle: Single Corner Snipped 45">
            <a:extLst>
              <a:ext uri="{FF2B5EF4-FFF2-40B4-BE49-F238E27FC236}">
                <a16:creationId xmlns:a16="http://schemas.microsoft.com/office/drawing/2014/main" id="{BAA52B86-2309-42CB-63A9-9781F93AF358}"/>
              </a:ext>
            </a:extLst>
          </p:cNvPr>
          <p:cNvSpPr/>
          <p:nvPr/>
        </p:nvSpPr>
        <p:spPr>
          <a:xfrm>
            <a:off x="8044015" y="4993985"/>
            <a:ext cx="1911974" cy="29119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900" dirty="0">
                <a:solidFill>
                  <a:schemeClr val="tx1"/>
                </a:solidFill>
              </a:rPr>
              <a:t>M-Script based utilities, RUST unit test, </a:t>
            </a:r>
            <a:r>
              <a:rPr lang="en-IN" sz="900" dirty="0" err="1">
                <a:solidFill>
                  <a:schemeClr val="tx1"/>
                </a:solidFill>
              </a:rPr>
              <a:t>gTest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6E6D3D7D-0BDB-72D8-DF79-BF27CD5B1B81}"/>
              </a:ext>
            </a:extLst>
          </p:cNvPr>
          <p:cNvCxnSpPr>
            <a:cxnSpLocks/>
            <a:stCxn id="35" idx="2"/>
            <a:endCxn id="38" idx="0"/>
          </p:cNvCxnSpPr>
          <p:nvPr/>
        </p:nvCxnSpPr>
        <p:spPr>
          <a:xfrm>
            <a:off x="4674727" y="4096912"/>
            <a:ext cx="0" cy="4749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55358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5A5D76-B5C4-C1A0-1EA9-73F0EAA09CF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28450" y="6327775"/>
            <a:ext cx="463550" cy="238125"/>
          </a:xfrm>
        </p:spPr>
        <p:txBody>
          <a:bodyPr/>
          <a:lstStyle/>
          <a:p>
            <a:fld id="{4E6DB2D9-BBD8-435B-B34A-9B8472CE273E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1C88E0-B90E-703A-0BD4-8797DBCAED47}"/>
              </a:ext>
            </a:extLst>
          </p:cNvPr>
          <p:cNvSpPr txBox="1"/>
          <p:nvPr/>
        </p:nvSpPr>
        <p:spPr>
          <a:xfrm>
            <a:off x="156266" y="156700"/>
            <a:ext cx="11879468" cy="36933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/>
              <a:t>Solution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5384B5-8D52-B306-EE95-C8393DF9CF3A}"/>
              </a:ext>
            </a:extLst>
          </p:cNvPr>
          <p:cNvSpPr txBox="1"/>
          <p:nvPr/>
        </p:nvSpPr>
        <p:spPr>
          <a:xfrm>
            <a:off x="156265" y="631940"/>
            <a:ext cx="11879467" cy="213879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spcBef>
                <a:spcPts val="600"/>
              </a:spcBef>
              <a:defRPr sz="14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/>
              <a:t>Common unit validation for feature sub modules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200" dirty="0"/>
              <a:t>Open-source automation framework (Robot Framework).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200" dirty="0"/>
              <a:t>Code generated from application/CI as system under test (SUT)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200" dirty="0"/>
              <a:t>Generate shared library form above code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200" dirty="0"/>
              <a:t>Use library and unit validate by using input from automation framework.</a:t>
            </a:r>
            <a:endParaRPr lang="en-US" sz="1200" dirty="0">
              <a:cs typeface="Calibri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200" dirty="0">
              <a:cs typeface="Calibri"/>
            </a:endParaRPr>
          </a:p>
          <a:p>
            <a:endParaRPr lang="en-US" sz="1200" dirty="0"/>
          </a:p>
        </p:txBody>
      </p:sp>
      <p:pic>
        <p:nvPicPr>
          <p:cNvPr id="8" name="Picture 7" descr="A yellow square with black arrows&#10;&#10;Description automatically generated">
            <a:extLst>
              <a:ext uri="{FF2B5EF4-FFF2-40B4-BE49-F238E27FC236}">
                <a16:creationId xmlns:a16="http://schemas.microsoft.com/office/drawing/2014/main" id="{EC015879-36B2-FF3D-11EF-407E1A4F3F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8348" y="2874507"/>
            <a:ext cx="8115300" cy="131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9553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5A5D76-B5C4-C1A0-1EA9-73F0EAA09CF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28450" y="6327775"/>
            <a:ext cx="463550" cy="238125"/>
          </a:xfrm>
        </p:spPr>
        <p:txBody>
          <a:bodyPr/>
          <a:lstStyle/>
          <a:p>
            <a:fld id="{4E6DB2D9-BBD8-435B-B34A-9B8472CE273E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1C88E0-B90E-703A-0BD4-8797DBCAED47}"/>
              </a:ext>
            </a:extLst>
          </p:cNvPr>
          <p:cNvSpPr txBox="1"/>
          <p:nvPr/>
        </p:nvSpPr>
        <p:spPr>
          <a:xfrm>
            <a:off x="156266" y="156700"/>
            <a:ext cx="11879468" cy="36933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/>
              <a:t>Solution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5384B5-8D52-B306-EE95-C8393DF9CF3A}"/>
              </a:ext>
            </a:extLst>
          </p:cNvPr>
          <p:cNvSpPr txBox="1"/>
          <p:nvPr/>
        </p:nvSpPr>
        <p:spPr>
          <a:xfrm>
            <a:off x="156265" y="631940"/>
            <a:ext cx="11879467" cy="176945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spcBef>
                <a:spcPts val="600"/>
              </a:spcBef>
              <a:defRPr sz="14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/>
              <a:t>Demonstrated on sub module of a client ADAS application (model-based platform). 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/>
              <a:t>Validation successful on the sub module SW AEB.</a:t>
            </a:r>
            <a:endParaRPr lang="en-US" sz="1200" dirty="0">
              <a:cs typeface="Calibri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/>
              <a:t>Processes refinements like automation, can be implemented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200" dirty="0"/>
              <a:t>Library generation through CI jobs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200" dirty="0"/>
              <a:t>Interface files in framework corresponding to user type data in generated code of application.</a:t>
            </a:r>
            <a:endParaRPr lang="en-US" sz="1200" dirty="0">
              <a:cs typeface="Calibri"/>
            </a:endParaRPr>
          </a:p>
          <a:p>
            <a:endParaRPr lang="en-US" sz="1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52C562B-468B-5418-8847-442B3533A8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8818" y="4082285"/>
            <a:ext cx="3373467" cy="196608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3C90C72-1EBA-B1B0-8BC8-A5E7591987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65" y="4998353"/>
            <a:ext cx="2845460" cy="102170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9B208E1-1348-5FA6-2DA3-8F421D2105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9500" y="2600286"/>
            <a:ext cx="3560428" cy="2099249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155A7E7-5FB9-1BEE-D8B4-F31A1E2467A8}"/>
              </a:ext>
            </a:extLst>
          </p:cNvPr>
          <p:cNvSpPr/>
          <p:nvPr/>
        </p:nvSpPr>
        <p:spPr>
          <a:xfrm>
            <a:off x="8842332" y="2678545"/>
            <a:ext cx="1627909" cy="19627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cs typeface="Calibri"/>
              </a:rPr>
              <a:t>Simulink model (.</a:t>
            </a:r>
            <a:r>
              <a:rPr lang="en-US" sz="1000" dirty="0" err="1">
                <a:solidFill>
                  <a:schemeClr val="tx1"/>
                </a:solidFill>
                <a:cs typeface="Calibri"/>
              </a:rPr>
              <a:t>slx</a:t>
            </a:r>
            <a:r>
              <a:rPr lang="en-US" sz="1000" dirty="0">
                <a:solidFill>
                  <a:schemeClr val="tx1"/>
                </a:solidFill>
                <a:cs typeface="Calibri"/>
              </a:rPr>
              <a:t>)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CFA83E0-0B06-CAE7-F64D-7671891090B5}"/>
              </a:ext>
            </a:extLst>
          </p:cNvPr>
          <p:cNvSpPr/>
          <p:nvPr/>
        </p:nvSpPr>
        <p:spPr>
          <a:xfrm>
            <a:off x="8842332" y="3105726"/>
            <a:ext cx="1627909" cy="19627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cs typeface="Calibri"/>
              </a:rPr>
              <a:t>Generate code (.c/.h)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667B154-BBCF-3E2B-5BEF-DC4DEEDBD4E1}"/>
              </a:ext>
            </a:extLst>
          </p:cNvPr>
          <p:cNvSpPr/>
          <p:nvPr/>
        </p:nvSpPr>
        <p:spPr>
          <a:xfrm>
            <a:off x="8842332" y="3555998"/>
            <a:ext cx="1627909" cy="19627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cs typeface="Calibri"/>
              </a:rPr>
              <a:t>Generate library (.so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72D6B7F-0DEB-2446-A7AB-13BE8287E852}"/>
              </a:ext>
            </a:extLst>
          </p:cNvPr>
          <p:cNvSpPr/>
          <p:nvPr/>
        </p:nvSpPr>
        <p:spPr>
          <a:xfrm>
            <a:off x="8379942" y="3948197"/>
            <a:ext cx="2575776" cy="21936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cs typeface="Calibri"/>
              </a:rPr>
              <a:t>Python and RF (.</a:t>
            </a:r>
            <a:r>
              <a:rPr lang="en-US" sz="1000" dirty="0" err="1">
                <a:solidFill>
                  <a:schemeClr val="tx1"/>
                </a:solidFill>
                <a:cs typeface="Calibri"/>
              </a:rPr>
              <a:t>py</a:t>
            </a:r>
            <a:r>
              <a:rPr lang="en-US" sz="1000" dirty="0">
                <a:solidFill>
                  <a:schemeClr val="tx1"/>
                </a:solidFill>
                <a:cs typeface="Calibri"/>
              </a:rPr>
              <a:t>, .robot, .resource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1CBB808-159E-B605-D79D-F4BD1055C0DB}"/>
              </a:ext>
            </a:extLst>
          </p:cNvPr>
          <p:cNvSpPr/>
          <p:nvPr/>
        </p:nvSpPr>
        <p:spPr>
          <a:xfrm>
            <a:off x="8853876" y="4410360"/>
            <a:ext cx="1627909" cy="19627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cs typeface="Calibri"/>
              </a:rPr>
              <a:t>Log Report (.html)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18C2B59-CECE-A583-2055-927F5292DBA7}"/>
              </a:ext>
            </a:extLst>
          </p:cNvPr>
          <p:cNvCxnSpPr/>
          <p:nvPr/>
        </p:nvCxnSpPr>
        <p:spPr>
          <a:xfrm>
            <a:off x="8209066" y="2680277"/>
            <a:ext cx="2309" cy="19304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46226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5A5D76-B5C4-C1A0-1EA9-73F0EAA09CF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28450" y="6327775"/>
            <a:ext cx="463550" cy="238125"/>
          </a:xfrm>
        </p:spPr>
        <p:txBody>
          <a:bodyPr/>
          <a:lstStyle/>
          <a:p>
            <a:fld id="{4E6DB2D9-BBD8-435B-B34A-9B8472CE273E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1C88E0-B90E-703A-0BD4-8797DBCAED47}"/>
              </a:ext>
            </a:extLst>
          </p:cNvPr>
          <p:cNvSpPr txBox="1"/>
          <p:nvPr/>
        </p:nvSpPr>
        <p:spPr>
          <a:xfrm>
            <a:off x="156266" y="156700"/>
            <a:ext cx="11879468" cy="36933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Impact of Solution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5384B5-8D52-B306-EE95-C8393DF9CF3A}"/>
              </a:ext>
            </a:extLst>
          </p:cNvPr>
          <p:cNvSpPr txBox="1"/>
          <p:nvPr/>
        </p:nvSpPr>
        <p:spPr>
          <a:xfrm>
            <a:off x="156265" y="631940"/>
            <a:ext cx="11879467" cy="16740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spcBef>
                <a:spcPts val="600"/>
              </a:spcBef>
              <a:defRPr sz="14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>
                <a:cs typeface="Calibri"/>
              </a:rPr>
              <a:t>Common approach for unit validating sub modules of featur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cs typeface="Calibri"/>
              </a:rPr>
              <a:t>Uniformity can help in lesser maintainability of approach on part of features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200" dirty="0">
                <a:cs typeface="Calibri"/>
              </a:rPr>
              <a:t>For e.g., m-script based utility tools need not be maintained for unit validating model-based featur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cs typeface="Calibri"/>
              </a:rPr>
              <a:t>Possibility to integrate with some project wide tools for development and validation,  that face longer time to align with and include model-based features.  </a:t>
            </a:r>
            <a:br>
              <a:rPr lang="en-US" dirty="0">
                <a:cs typeface="Calibri"/>
              </a:rPr>
            </a:br>
            <a:endParaRPr lang="en-US" sz="1600" dirty="0">
              <a:latin typeface="Work Sans Medium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Work Sans Medium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 dirty="0">
              <a:cs typeface="Calibri"/>
            </a:endParaRPr>
          </a:p>
          <a:p>
            <a:pPr lvl="1"/>
            <a:br>
              <a:rPr lang="en-US" sz="1200" dirty="0">
                <a:cs typeface="Calibri"/>
              </a:rPr>
            </a:br>
            <a:endParaRPr lang="en-US" sz="12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cs typeface="Calibri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3BCC717-8F15-31DF-CE66-F6D4EECD78E2}"/>
              </a:ext>
            </a:extLst>
          </p:cNvPr>
          <p:cNvSpPr/>
          <p:nvPr/>
        </p:nvSpPr>
        <p:spPr>
          <a:xfrm>
            <a:off x="2782480" y="3187085"/>
            <a:ext cx="994299" cy="621437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105000"/>
                  <a:satMod val="103000"/>
                  <a:tint val="73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/>
              <a:t>AEB</a:t>
            </a:r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F1A819C-E42A-748F-3A67-FFE7FB2AA582}"/>
              </a:ext>
            </a:extLst>
          </p:cNvPr>
          <p:cNvSpPr/>
          <p:nvPr/>
        </p:nvSpPr>
        <p:spPr>
          <a:xfrm>
            <a:off x="4108804" y="3187085"/>
            <a:ext cx="1093729" cy="621437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105000"/>
                  <a:satMod val="103000"/>
                  <a:tint val="73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dirty="0"/>
              <a:t>Lane Support</a:t>
            </a:r>
            <a:endParaRPr lang="en-US" sz="16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056AC7E-8353-5484-7B27-45573D53BDB9}"/>
              </a:ext>
            </a:extLst>
          </p:cNvPr>
          <p:cNvSpPr/>
          <p:nvPr/>
        </p:nvSpPr>
        <p:spPr>
          <a:xfrm>
            <a:off x="5470195" y="3180127"/>
            <a:ext cx="1415988" cy="621437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105000"/>
                  <a:satMod val="103000"/>
                  <a:tint val="73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dirty="0"/>
              <a:t>Contextual</a:t>
            </a:r>
          </a:p>
          <a:p>
            <a:pPr algn="ctr"/>
            <a:r>
              <a:rPr lang="en-IN" sz="1600" dirty="0"/>
              <a:t>ACC</a:t>
            </a:r>
            <a:endParaRPr lang="en-US" sz="16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F77240-9190-F8AA-4B91-E08965A5441D}"/>
              </a:ext>
            </a:extLst>
          </p:cNvPr>
          <p:cNvCxnSpPr>
            <a:cxnSpLocks/>
          </p:cNvCxnSpPr>
          <p:nvPr/>
        </p:nvCxnSpPr>
        <p:spPr>
          <a:xfrm>
            <a:off x="1225116" y="3922316"/>
            <a:ext cx="89813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4B74C38-03A2-78BF-DD0A-60DE733EAEC2}"/>
              </a:ext>
            </a:extLst>
          </p:cNvPr>
          <p:cNvSpPr/>
          <p:nvPr/>
        </p:nvSpPr>
        <p:spPr>
          <a:xfrm>
            <a:off x="3995761" y="4283430"/>
            <a:ext cx="1358283" cy="50602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>
                <a:solidFill>
                  <a:schemeClr val="tx1"/>
                </a:solidFill>
              </a:rPr>
              <a:t>Approach</a:t>
            </a:r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7C10F4B-3623-6F7A-E5CE-FB3BF7235A10}"/>
              </a:ext>
            </a:extLst>
          </p:cNvPr>
          <p:cNvCxnSpPr>
            <a:stCxn id="7" idx="2"/>
          </p:cNvCxnSpPr>
          <p:nvPr/>
        </p:nvCxnSpPr>
        <p:spPr>
          <a:xfrm flipH="1">
            <a:off x="4655668" y="3808522"/>
            <a:ext cx="1" cy="4749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Single Corner Snipped 12">
            <a:extLst>
              <a:ext uri="{FF2B5EF4-FFF2-40B4-BE49-F238E27FC236}">
                <a16:creationId xmlns:a16="http://schemas.microsoft.com/office/drawing/2014/main" id="{FA39C59D-0FE5-C135-FF09-6E0A4173D670}"/>
              </a:ext>
            </a:extLst>
          </p:cNvPr>
          <p:cNvSpPr/>
          <p:nvPr/>
        </p:nvSpPr>
        <p:spPr>
          <a:xfrm>
            <a:off x="8043166" y="4259567"/>
            <a:ext cx="1915646" cy="50602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Unit valida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: Single Corner Snipped 13">
            <a:extLst>
              <a:ext uri="{FF2B5EF4-FFF2-40B4-BE49-F238E27FC236}">
                <a16:creationId xmlns:a16="http://schemas.microsoft.com/office/drawing/2014/main" id="{704FF427-FDFC-09A9-CC24-2D553F96119E}"/>
              </a:ext>
            </a:extLst>
          </p:cNvPr>
          <p:cNvSpPr/>
          <p:nvPr/>
        </p:nvSpPr>
        <p:spPr>
          <a:xfrm>
            <a:off x="8035138" y="3069888"/>
            <a:ext cx="1923674" cy="50602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Applica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Rectangle: Single Corner Snipped 14">
            <a:extLst>
              <a:ext uri="{FF2B5EF4-FFF2-40B4-BE49-F238E27FC236}">
                <a16:creationId xmlns:a16="http://schemas.microsoft.com/office/drawing/2014/main" id="{501FF8BC-5623-BACB-58AE-A03AB1F38A39}"/>
              </a:ext>
            </a:extLst>
          </p:cNvPr>
          <p:cNvSpPr/>
          <p:nvPr/>
        </p:nvSpPr>
        <p:spPr>
          <a:xfrm>
            <a:off x="8036716" y="3501562"/>
            <a:ext cx="1741027" cy="29119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900" dirty="0">
                <a:solidFill>
                  <a:schemeClr val="tx1"/>
                </a:solidFill>
              </a:rPr>
              <a:t>MATLAB/Simulink, RUST, C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7" name="Rectangle: Single Corner Snipped 16">
            <a:extLst>
              <a:ext uri="{FF2B5EF4-FFF2-40B4-BE49-F238E27FC236}">
                <a16:creationId xmlns:a16="http://schemas.microsoft.com/office/drawing/2014/main" id="{9BB9D34E-7662-B623-AB01-93EAA8A229F4}"/>
              </a:ext>
            </a:extLst>
          </p:cNvPr>
          <p:cNvSpPr/>
          <p:nvPr/>
        </p:nvSpPr>
        <p:spPr>
          <a:xfrm>
            <a:off x="8037960" y="4673992"/>
            <a:ext cx="1739783" cy="291195"/>
          </a:xfrm>
          <a:prstGeom prst="snip1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dirty="0">
                <a:solidFill>
                  <a:schemeClr val="tx1"/>
                </a:solidFill>
              </a:rPr>
              <a:t>Automation frameworks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9525E2A8-3FD6-AFBC-4A8C-E050A60A0274}"/>
              </a:ext>
            </a:extLst>
          </p:cNvPr>
          <p:cNvCxnSpPr>
            <a:stCxn id="6" idx="2"/>
            <a:endCxn id="11" idx="1"/>
          </p:cNvCxnSpPr>
          <p:nvPr/>
        </p:nvCxnSpPr>
        <p:spPr>
          <a:xfrm rot="16200000" flipH="1">
            <a:off x="3273735" y="3814416"/>
            <a:ext cx="727921" cy="71613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9A6C12DB-C2B7-9A1F-BFE9-652E847DEB66}"/>
              </a:ext>
            </a:extLst>
          </p:cNvPr>
          <p:cNvCxnSpPr>
            <a:stCxn id="9" idx="2"/>
            <a:endCxn id="11" idx="3"/>
          </p:cNvCxnSpPr>
          <p:nvPr/>
        </p:nvCxnSpPr>
        <p:spPr>
          <a:xfrm rot="5400000">
            <a:off x="5398678" y="3756931"/>
            <a:ext cx="734879" cy="82414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55157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5A5D76-B5C4-C1A0-1EA9-73F0EAA09CF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28450" y="6327775"/>
            <a:ext cx="463550" cy="238125"/>
          </a:xfrm>
        </p:spPr>
        <p:txBody>
          <a:bodyPr/>
          <a:lstStyle/>
          <a:p>
            <a:fld id="{4E6DB2D9-BBD8-435B-B34A-9B8472CE273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1C88E0-B90E-703A-0BD4-8797DBCAED47}"/>
              </a:ext>
            </a:extLst>
          </p:cNvPr>
          <p:cNvSpPr txBox="1"/>
          <p:nvPr/>
        </p:nvSpPr>
        <p:spPr>
          <a:xfrm>
            <a:off x="156266" y="156700"/>
            <a:ext cx="11879468" cy="36933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Impact of Solution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5384B5-8D52-B306-EE95-C8393DF9CF3A}"/>
              </a:ext>
            </a:extLst>
          </p:cNvPr>
          <p:cNvSpPr txBox="1"/>
          <p:nvPr/>
        </p:nvSpPr>
        <p:spPr>
          <a:xfrm>
            <a:off x="156265" y="631940"/>
            <a:ext cx="11879467" cy="14904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spcBef>
                <a:spcPts val="600"/>
              </a:spcBef>
              <a:defRPr sz="14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>
                <a:cs typeface="Calibri"/>
              </a:rPr>
              <a:t>Run duration improvement (way to faster unit validation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cs typeface="Calibri"/>
              </a:rPr>
              <a:t>Reduced run duration observed for the feature sub module. (several minutes to few second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cs typeface="Calibri"/>
              </a:rPr>
              <a:t>Helpful for submodules with large number of software unit requirements, where unitary validation run into several minutes, with existing approach.</a:t>
            </a:r>
            <a:br>
              <a:rPr lang="en-US" dirty="0">
                <a:cs typeface="Calibri"/>
              </a:rPr>
            </a:br>
            <a:endParaRPr lang="en-US" sz="1600" dirty="0">
              <a:latin typeface="Work Sans Medium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Work Sans Medium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 dirty="0">
              <a:cs typeface="Calibri"/>
            </a:endParaRPr>
          </a:p>
          <a:p>
            <a:pPr lvl="1"/>
            <a:br>
              <a:rPr lang="en-US" sz="1200" dirty="0">
                <a:cs typeface="Calibri"/>
              </a:rPr>
            </a:br>
            <a:endParaRPr lang="en-US" sz="12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cs typeface="Calibri"/>
            </a:endParaRPr>
          </a:p>
        </p:txBody>
      </p: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8E65AA9D-9F6D-9BB2-1396-45C693998E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2610" y="2810215"/>
            <a:ext cx="8486775" cy="1237570"/>
          </a:xfrm>
          <a:prstGeom prst="rect">
            <a:avLst/>
          </a:prstGeom>
        </p:spPr>
      </p:pic>
      <p:pic>
        <p:nvPicPr>
          <p:cNvPr id="16" name="Picture 15" descr="A screenshot of a computer&#10;&#10;Description automatically generated">
            <a:extLst>
              <a:ext uri="{FF2B5EF4-FFF2-40B4-BE49-F238E27FC236}">
                <a16:creationId xmlns:a16="http://schemas.microsoft.com/office/drawing/2014/main" id="{CDFE72D5-6659-E145-5E0C-68F388D46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2610" y="4086390"/>
            <a:ext cx="3971925" cy="82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2259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777DAD1-9553-AF24-7CAE-23C6FA3057B0}"/>
              </a:ext>
            </a:extLst>
          </p:cNvPr>
          <p:cNvSpPr txBox="1"/>
          <p:nvPr/>
        </p:nvSpPr>
        <p:spPr>
          <a:xfrm>
            <a:off x="156266" y="156700"/>
            <a:ext cx="11879468" cy="36933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/>
              <a:t>Lesson Learnt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DF8A63-5D47-291B-803D-0464C865E388}"/>
              </a:ext>
            </a:extLst>
          </p:cNvPr>
          <p:cNvSpPr txBox="1"/>
          <p:nvPr/>
        </p:nvSpPr>
        <p:spPr>
          <a:xfrm>
            <a:off x="2543474" y="2438849"/>
            <a:ext cx="7249908" cy="237767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spcBef>
                <a:spcPts val="600"/>
              </a:spcBef>
              <a:defRPr sz="14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ctr"/>
            <a:r>
              <a:rPr lang="en-US" b="1" dirty="0"/>
              <a:t>Uniform unit validation approach</a:t>
            </a:r>
          </a:p>
          <a:p>
            <a:r>
              <a:rPr lang="en-US" dirty="0"/>
              <a:t>1. Are features maintaining various approaches for unit validation based on platform they are developed on and is this approach optimum (run duration, tool/library maintenance, dependencies) for the feature?</a:t>
            </a:r>
          </a:p>
          <a:p>
            <a:r>
              <a:rPr lang="en-US" dirty="0"/>
              <a:t>2. Does capability exist to scale approach to integrate with project-wide tool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7E9A76-41D4-FDBB-6951-54419F1E483D}"/>
              </a:ext>
            </a:extLst>
          </p:cNvPr>
          <p:cNvSpPr txBox="1"/>
          <p:nvPr/>
        </p:nvSpPr>
        <p:spPr>
          <a:xfrm>
            <a:off x="1921892" y="1314096"/>
            <a:ext cx="8348215" cy="73866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400" dirty="0"/>
              <a:t>A long-term overview of the test framework and its evolution must be addressed/discussed at SW/SYS level for the feature ecosystem, during the life of the project, while selecting approach for validation. This can reduce rework over time.</a:t>
            </a:r>
          </a:p>
        </p:txBody>
      </p:sp>
      <p:graphicFrame>
        <p:nvGraphicFramePr>
          <p:cNvPr id="28" name="Diagram 27">
            <a:extLst>
              <a:ext uri="{FF2B5EF4-FFF2-40B4-BE49-F238E27FC236}">
                <a16:creationId xmlns:a16="http://schemas.microsoft.com/office/drawing/2014/main" id="{E9896FD5-AB7F-EF04-5955-7DAF55E989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3473233"/>
              </p:ext>
            </p:extLst>
          </p:nvPr>
        </p:nvGraphicFramePr>
        <p:xfrm>
          <a:off x="2779772" y="4728702"/>
          <a:ext cx="6632454" cy="17959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938545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5_KPIT">
  <a:themeElements>
    <a:clrScheme name="KPIT Colour Palette">
      <a:dk1>
        <a:srgbClr val="161718"/>
      </a:dk1>
      <a:lt1>
        <a:srgbClr val="FFFFFF"/>
      </a:lt1>
      <a:dk2>
        <a:srgbClr val="4D5154"/>
      </a:dk2>
      <a:lt2>
        <a:srgbClr val="E6E7E8"/>
      </a:lt2>
      <a:accent1>
        <a:srgbClr val="B0FF45"/>
      </a:accent1>
      <a:accent2>
        <a:srgbClr val="8FDB00"/>
      </a:accent2>
      <a:accent3>
        <a:srgbClr val="428003"/>
      </a:accent3>
      <a:accent4>
        <a:srgbClr val="753DFF"/>
      </a:accent4>
      <a:accent5>
        <a:srgbClr val="622AD8"/>
      </a:accent5>
      <a:accent6>
        <a:srgbClr val="7F7F7F"/>
      </a:accent6>
      <a:hlink>
        <a:srgbClr val="753DFF"/>
      </a:hlink>
      <a:folHlink>
        <a:srgbClr val="A5A5A5"/>
      </a:folHlink>
    </a:clrScheme>
    <a:fontScheme name="KPIT">
      <a:majorFont>
        <a:latin typeface="Work Sans Medium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KPIT">
  <a:themeElements>
    <a:clrScheme name="KPIT Colour Palette">
      <a:dk1>
        <a:srgbClr val="161718"/>
      </a:dk1>
      <a:lt1>
        <a:srgbClr val="FFFFFF"/>
      </a:lt1>
      <a:dk2>
        <a:srgbClr val="4D5154"/>
      </a:dk2>
      <a:lt2>
        <a:srgbClr val="E6E7E8"/>
      </a:lt2>
      <a:accent1>
        <a:srgbClr val="B0FF45"/>
      </a:accent1>
      <a:accent2>
        <a:srgbClr val="8FDB00"/>
      </a:accent2>
      <a:accent3>
        <a:srgbClr val="428003"/>
      </a:accent3>
      <a:accent4>
        <a:srgbClr val="753DFF"/>
      </a:accent4>
      <a:accent5>
        <a:srgbClr val="622AD8"/>
      </a:accent5>
      <a:accent6>
        <a:srgbClr val="7F7F7F"/>
      </a:accent6>
      <a:hlink>
        <a:srgbClr val="753DFF"/>
      </a:hlink>
      <a:folHlink>
        <a:srgbClr val="A5A5A5"/>
      </a:folHlink>
    </a:clrScheme>
    <a:fontScheme name="KPIT">
      <a:majorFont>
        <a:latin typeface="Work Sans Medium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eme2">
  <a:themeElements>
    <a:clrScheme name="KPIT Colour Palette">
      <a:dk1>
        <a:srgbClr val="161718"/>
      </a:dk1>
      <a:lt1>
        <a:srgbClr val="FFFFFF"/>
      </a:lt1>
      <a:dk2>
        <a:srgbClr val="4D5154"/>
      </a:dk2>
      <a:lt2>
        <a:srgbClr val="E6E7E8"/>
      </a:lt2>
      <a:accent1>
        <a:srgbClr val="B0FF45"/>
      </a:accent1>
      <a:accent2>
        <a:srgbClr val="8FDB00"/>
      </a:accent2>
      <a:accent3>
        <a:srgbClr val="428003"/>
      </a:accent3>
      <a:accent4>
        <a:srgbClr val="753DFF"/>
      </a:accent4>
      <a:accent5>
        <a:srgbClr val="622AD8"/>
      </a:accent5>
      <a:accent6>
        <a:srgbClr val="7F7F7F"/>
      </a:accent6>
      <a:hlink>
        <a:srgbClr val="753DFF"/>
      </a:hlink>
      <a:folHlink>
        <a:srgbClr val="A5A5A5"/>
      </a:folHlink>
    </a:clrScheme>
    <a:fontScheme name="KPIT">
      <a:majorFont>
        <a:latin typeface="Work Sans Medium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2" id="{CB72D8F3-45C4-4B08-858D-ABF76BE34D16}" vid="{3D118F23-D70E-4721-BE64-D354ECB70DBA}"/>
    </a:ext>
  </a:extLst>
</a:theme>
</file>

<file path=ppt/theme/theme3.xml><?xml version="1.0" encoding="utf-8"?>
<a:theme xmlns:a="http://schemas.openxmlformats.org/drawingml/2006/main" name="KPIT">
  <a:themeElements>
    <a:clrScheme name="KPIT Colour Palette">
      <a:dk1>
        <a:srgbClr val="161718"/>
      </a:dk1>
      <a:lt1>
        <a:srgbClr val="FFFFFF"/>
      </a:lt1>
      <a:dk2>
        <a:srgbClr val="4D5154"/>
      </a:dk2>
      <a:lt2>
        <a:srgbClr val="E6E7E8"/>
      </a:lt2>
      <a:accent1>
        <a:srgbClr val="B0FF45"/>
      </a:accent1>
      <a:accent2>
        <a:srgbClr val="8FDB00"/>
      </a:accent2>
      <a:accent3>
        <a:srgbClr val="428003"/>
      </a:accent3>
      <a:accent4>
        <a:srgbClr val="753DFF"/>
      </a:accent4>
      <a:accent5>
        <a:srgbClr val="622AD8"/>
      </a:accent5>
      <a:accent6>
        <a:srgbClr val="7F7F7F"/>
      </a:accent6>
      <a:hlink>
        <a:srgbClr val="753DFF"/>
      </a:hlink>
      <a:folHlink>
        <a:srgbClr val="A5A5A5"/>
      </a:folHlink>
    </a:clrScheme>
    <a:fontScheme name="KPIT">
      <a:majorFont>
        <a:latin typeface="Work Sans Medium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KPIT">
  <a:themeElements>
    <a:clrScheme name="KPIT Colour Palette">
      <a:dk1>
        <a:srgbClr val="161718"/>
      </a:dk1>
      <a:lt1>
        <a:srgbClr val="FFFFFF"/>
      </a:lt1>
      <a:dk2>
        <a:srgbClr val="4D5154"/>
      </a:dk2>
      <a:lt2>
        <a:srgbClr val="E6E7E8"/>
      </a:lt2>
      <a:accent1>
        <a:srgbClr val="B0FF45"/>
      </a:accent1>
      <a:accent2>
        <a:srgbClr val="8FDB00"/>
      </a:accent2>
      <a:accent3>
        <a:srgbClr val="428003"/>
      </a:accent3>
      <a:accent4>
        <a:srgbClr val="753DFF"/>
      </a:accent4>
      <a:accent5>
        <a:srgbClr val="622AD8"/>
      </a:accent5>
      <a:accent6>
        <a:srgbClr val="7F7F7F"/>
      </a:accent6>
      <a:hlink>
        <a:srgbClr val="753DFF"/>
      </a:hlink>
      <a:folHlink>
        <a:srgbClr val="A5A5A5"/>
      </a:folHlink>
    </a:clrScheme>
    <a:fontScheme name="KPIT">
      <a:majorFont>
        <a:latin typeface="Work Sans Medium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Renault Group">
  <a:themeElements>
    <a:clrScheme name="202109_DIGITAL">
      <a:dk1>
        <a:srgbClr val="000000"/>
      </a:dk1>
      <a:lt1>
        <a:srgbClr val="FFFFFF"/>
      </a:lt1>
      <a:dk2>
        <a:srgbClr val="D8C3A0"/>
      </a:dk2>
      <a:lt2>
        <a:srgbClr val="978B7F"/>
      </a:lt2>
      <a:accent1>
        <a:srgbClr val="66D8D0"/>
      </a:accent1>
      <a:accent2>
        <a:srgbClr val="4613A5"/>
      </a:accent2>
      <a:accent3>
        <a:srgbClr val="2E2ECA"/>
      </a:accent3>
      <a:accent4>
        <a:srgbClr val="FFFFFF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RG + Read light">
      <a:majorFont>
        <a:latin typeface="Renault Group"/>
        <a:ea typeface=""/>
        <a:cs typeface=""/>
      </a:majorFont>
      <a:minorFont>
        <a:latin typeface="Read Light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_SOFTWAREFACTORY  -  Lecture seule" id="{77754F3C-6FA4-4685-8B07-3A58CDBFB46D}" vid="{8A7C9985-7134-4FBB-8291-BB86BAE4950D}"/>
    </a:ext>
  </a:extLst>
</a:theme>
</file>

<file path=ppt/theme/theme6.xml><?xml version="1.0" encoding="utf-8"?>
<a:theme xmlns:a="http://schemas.openxmlformats.org/drawingml/2006/main" name="12_KPIT">
  <a:themeElements>
    <a:clrScheme name="KPIT">
      <a:dk1>
        <a:srgbClr val="231F20"/>
      </a:dk1>
      <a:lt1>
        <a:sysClr val="window" lastClr="FFFFFF"/>
      </a:lt1>
      <a:dk2>
        <a:srgbClr val="231F20"/>
      </a:dk2>
      <a:lt2>
        <a:srgbClr val="F1F2F2"/>
      </a:lt2>
      <a:accent1>
        <a:srgbClr val="B0FF45"/>
      </a:accent1>
      <a:accent2>
        <a:srgbClr val="464646"/>
      </a:accent2>
      <a:accent3>
        <a:srgbClr val="428003"/>
      </a:accent3>
      <a:accent4>
        <a:srgbClr val="B0FF45"/>
      </a:accent4>
      <a:accent5>
        <a:srgbClr val="753DFF"/>
      </a:accent5>
      <a:accent6>
        <a:srgbClr val="428003"/>
      </a:accent6>
      <a:hlink>
        <a:srgbClr val="0563C1"/>
      </a:hlink>
      <a:folHlink>
        <a:srgbClr val="954F72"/>
      </a:folHlink>
    </a:clrScheme>
    <a:fontScheme name="KPIT">
      <a:majorFont>
        <a:latin typeface="Work Sans Medium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KPIT">
  <a:themeElements>
    <a:clrScheme name="KPIT">
      <a:dk1>
        <a:srgbClr val="231F20"/>
      </a:dk1>
      <a:lt1>
        <a:sysClr val="window" lastClr="FFFFFF"/>
      </a:lt1>
      <a:dk2>
        <a:srgbClr val="231F20"/>
      </a:dk2>
      <a:lt2>
        <a:srgbClr val="F1F2F2"/>
      </a:lt2>
      <a:accent1>
        <a:srgbClr val="B0FF45"/>
      </a:accent1>
      <a:accent2>
        <a:srgbClr val="464646"/>
      </a:accent2>
      <a:accent3>
        <a:srgbClr val="428003"/>
      </a:accent3>
      <a:accent4>
        <a:srgbClr val="B0FF45"/>
      </a:accent4>
      <a:accent5>
        <a:srgbClr val="753DFF"/>
      </a:accent5>
      <a:accent6>
        <a:srgbClr val="428003"/>
      </a:accent6>
      <a:hlink>
        <a:srgbClr val="0563C1"/>
      </a:hlink>
      <a:folHlink>
        <a:srgbClr val="954F72"/>
      </a:folHlink>
    </a:clrScheme>
    <a:fontScheme name="KPIT">
      <a:majorFont>
        <a:latin typeface="Work Sans Medium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chemeClr val="accent1">
            <a:lumMod val="60000"/>
            <a:lumOff val="40000"/>
          </a:schemeClr>
        </a:solidFill>
      </a:spPr>
      <a:bodyPr wrap="square" rtlCol="0">
        <a:spAutoFit/>
      </a:bodyPr>
      <a:lstStyle>
        <a:defPPr algn="l">
          <a:defRPr sz="2800" spc="-20" dirty="0">
            <a:solidFill>
              <a:schemeClr val="tx2"/>
            </a:solidFill>
            <a:latin typeface="+mj-lt"/>
            <a:ea typeface="+mj-ea"/>
            <a:cs typeface="+mj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KPIT">
  <a:themeElements>
    <a:clrScheme name="KPIT Colours">
      <a:dk1>
        <a:srgbClr val="231F20"/>
      </a:dk1>
      <a:lt1>
        <a:sysClr val="window" lastClr="FFFFFF"/>
      </a:lt1>
      <a:dk2>
        <a:srgbClr val="231F20"/>
      </a:dk2>
      <a:lt2>
        <a:srgbClr val="F1F2F2"/>
      </a:lt2>
      <a:accent1>
        <a:srgbClr val="78D200"/>
      </a:accent1>
      <a:accent2>
        <a:srgbClr val="464646"/>
      </a:accent2>
      <a:accent3>
        <a:srgbClr val="428003"/>
      </a:accent3>
      <a:accent4>
        <a:srgbClr val="753DFF"/>
      </a:accent4>
      <a:accent5>
        <a:srgbClr val="B0FF45"/>
      </a:accent5>
      <a:accent6>
        <a:srgbClr val="428003"/>
      </a:accent6>
      <a:hlink>
        <a:srgbClr val="0563C1"/>
      </a:hlink>
      <a:folHlink>
        <a:srgbClr val="954F72"/>
      </a:folHlink>
    </a:clrScheme>
    <a:fontScheme name="KPIT">
      <a:majorFont>
        <a:latin typeface="Work Sans Medium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0_KPIT">
  <a:themeElements>
    <a:clrScheme name="KPIT Colour Palette">
      <a:dk1>
        <a:srgbClr val="161718"/>
      </a:dk1>
      <a:lt1>
        <a:srgbClr val="FFFFFF"/>
      </a:lt1>
      <a:dk2>
        <a:srgbClr val="4D5154"/>
      </a:dk2>
      <a:lt2>
        <a:srgbClr val="E6E7E8"/>
      </a:lt2>
      <a:accent1>
        <a:srgbClr val="B0FF45"/>
      </a:accent1>
      <a:accent2>
        <a:srgbClr val="8FDB00"/>
      </a:accent2>
      <a:accent3>
        <a:srgbClr val="428003"/>
      </a:accent3>
      <a:accent4>
        <a:srgbClr val="753DFF"/>
      </a:accent4>
      <a:accent5>
        <a:srgbClr val="622AD8"/>
      </a:accent5>
      <a:accent6>
        <a:srgbClr val="7F7F7F"/>
      </a:accent6>
      <a:hlink>
        <a:srgbClr val="753DFF"/>
      </a:hlink>
      <a:folHlink>
        <a:srgbClr val="A5A5A5"/>
      </a:folHlink>
    </a:clrScheme>
    <a:fontScheme name="KPIT">
      <a:majorFont>
        <a:latin typeface="Work Sans Medium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caedf35-515d-4e5a-86bd-d790d16da0b4">
      <UserInfo>
        <DisplayName>Sanket Duthade</DisplayName>
        <AccountId>19</AccountId>
        <AccountType/>
      </UserInfo>
      <UserInfo>
        <DisplayName>Divyesh Ginoya</DisplayName>
        <AccountId>18</AccountId>
        <AccountType/>
      </UserInfo>
      <UserInfo>
        <DisplayName>Ankur Deo</DisplayName>
        <AccountId>28</AccountId>
        <AccountType/>
      </UserInfo>
      <UserInfo>
        <DisplayName>Caroline Stanley</DisplayName>
        <AccountId>11</AccountId>
        <AccountType/>
      </UserInfo>
      <UserInfo>
        <DisplayName>Ravi Kiran R</DisplayName>
        <AccountId>78</AccountId>
        <AccountType/>
      </UserInfo>
      <UserInfo>
        <DisplayName>Nesara Naik</DisplayName>
        <AccountId>237</AccountId>
        <AccountType/>
      </UserInfo>
      <UserInfo>
        <DisplayName>Jongchul Kim</DisplayName>
        <AccountId>77</AccountId>
        <AccountType/>
      </UserInfo>
      <UserInfo>
        <DisplayName>Meera Sinha</DisplayName>
        <AccountId>251</AccountId>
        <AccountType/>
      </UserInfo>
    </SharedWithUsers>
    <TaxCatchAll xmlns="fcaedf35-515d-4e5a-86bd-d790d16da0b4" xsi:nil="true"/>
    <lcf76f155ced4ddcb4097134ff3c332f xmlns="80596e63-6bbf-4943-9427-43c16e4aca27">
      <Terms xmlns="http://schemas.microsoft.com/office/infopath/2007/PartnerControls"/>
    </lcf76f155ced4ddcb4097134ff3c332f>
    <ContentDescription xmlns="80596e63-6bbf-4943-9427-43c16e4aca2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9015866733A34AB1EAFBFB58818543" ma:contentTypeVersion="15" ma:contentTypeDescription="Create a new document." ma:contentTypeScope="" ma:versionID="2ca53ac5fc91e3d6f0685b18c266b1a4">
  <xsd:schema xmlns:xsd="http://www.w3.org/2001/XMLSchema" xmlns:xs="http://www.w3.org/2001/XMLSchema" xmlns:p="http://schemas.microsoft.com/office/2006/metadata/properties" xmlns:ns2="80596e63-6bbf-4943-9427-43c16e4aca27" xmlns:ns3="fcaedf35-515d-4e5a-86bd-d790d16da0b4" targetNamespace="http://schemas.microsoft.com/office/2006/metadata/properties" ma:root="true" ma:fieldsID="d6ad1fef9d4dd7e1803b9849636f67e6" ns2:_="" ns3:_="">
    <xsd:import namespace="80596e63-6bbf-4943-9427-43c16e4aca27"/>
    <xsd:import namespace="fcaedf35-515d-4e5a-86bd-d790d16da0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Content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596e63-6bbf-4943-9427-43c16e4aca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2b8f5e56-e41c-4ff5-942a-46bb561873b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ContentDescription" ma:index="22" nillable="true" ma:displayName="Content Description" ma:default="" ma:format="Dropdown" ma:internalName="ContentDescription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aedf35-515d-4e5a-86bd-d790d16da0b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e79cc097-3b02-4a06-8710-4ae6bc2dc0aa}" ma:internalName="TaxCatchAll" ma:showField="CatchAllData" ma:web="fcaedf35-515d-4e5a-86bd-d790d16da0b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1A12C7A-778D-4827-A282-965D13A26191}">
  <ds:schemaRefs>
    <ds:schemaRef ds:uri="80596e63-6bbf-4943-9427-43c16e4aca27"/>
    <ds:schemaRef ds:uri="fcaedf35-515d-4e5a-86bd-d790d16da0b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6FF8CA9-0B31-411C-B7DB-AEE0FD57CCD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94DE6FF-8642-49B9-912F-313581ED50A4}">
  <ds:schemaRefs>
    <ds:schemaRef ds:uri="80596e63-6bbf-4943-9427-43c16e4aca27"/>
    <ds:schemaRef ds:uri="fcaedf35-515d-4e5a-86bd-d790d16da0b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9</TotalTime>
  <Words>855</Words>
  <Application>Microsoft Office PowerPoint</Application>
  <PresentationFormat>Widescreen</PresentationFormat>
  <Paragraphs>118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34" baseType="lpstr">
      <vt:lpstr>Arial</vt:lpstr>
      <vt:lpstr>Calibri</vt:lpstr>
      <vt:lpstr>Lucida Sans Unicode</vt:lpstr>
      <vt:lpstr>Read</vt:lpstr>
      <vt:lpstr>Renault Group</vt:lpstr>
      <vt:lpstr>Renault Group Light</vt:lpstr>
      <vt:lpstr>Renault Group Semibold</vt:lpstr>
      <vt:lpstr>Segoe UI</vt:lpstr>
      <vt:lpstr>Wingdings</vt:lpstr>
      <vt:lpstr>Work Sans</vt:lpstr>
      <vt:lpstr>Work Sans Light</vt:lpstr>
      <vt:lpstr>Work Sans Medium</vt:lpstr>
      <vt:lpstr>15_KPIT</vt:lpstr>
      <vt:lpstr>1_Theme2</vt:lpstr>
      <vt:lpstr>KPIT</vt:lpstr>
      <vt:lpstr>1_KPIT</vt:lpstr>
      <vt:lpstr>Renault Group</vt:lpstr>
      <vt:lpstr>12_KPIT</vt:lpstr>
      <vt:lpstr>2_KPIT</vt:lpstr>
      <vt:lpstr>3_KPIT</vt:lpstr>
      <vt:lpstr>10_KPIT</vt:lpstr>
      <vt:lpstr>KPIT</vt:lpstr>
      <vt:lpstr>think-cell Slide</vt:lpstr>
      <vt:lpstr>CorelDRA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dharth Das</dc:creator>
  <cp:lastModifiedBy>Sidharth Das</cp:lastModifiedBy>
  <cp:revision>23</cp:revision>
  <dcterms:created xsi:type="dcterms:W3CDTF">2022-12-06T09:50:09Z</dcterms:created>
  <dcterms:modified xsi:type="dcterms:W3CDTF">2024-10-17T19:2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9015866733A34AB1EAFBFB58818543</vt:lpwstr>
  </property>
  <property fmtid="{D5CDD505-2E9C-101B-9397-08002B2CF9AE}" pid="3" name="MediaServiceImageTags">
    <vt:lpwstr/>
  </property>
</Properties>
</file>